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CF89FC08-C34A-40DA-B9E7-CB934E3E5B3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Lst>
        </p14:section>
        <p14:section name="Category Price Point Distribution Analysis P12M" id="{368DE3A2-1202-404F-942E-5345439D225C}">
          <p14:sldIdLst>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Lst>
        </p14:section>
        <p14:section name="Sector Price Point Distribution Analysis P3M" id="{943E5C77-1154-4BF9-9FB8-D765223FD069}">
          <p14:sldIdLst>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Lst>
        </p14:section>
        <p14:section name="Sector Price Point Distribution Analysis P12M" id="{34835C97-2C48-4734-B712-81F0E80AADD9}">
          <p14:sldIdLst>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Lst>
        </p14:section>
        <p14:section name="Category Price Point Distribution Analysis P3M ByManuf" id="{D53874AC-093A-46C8-9C18-B9C5A9D22F99}">
          <p14:sldIdLst>
            <p14:sldId id="2147477423"/>
            <p14:sldId id="2147477424"/>
            <p14:sldId id="2147477425"/>
            <p14:sldId id="2147477426"/>
            <p14:sldId id="2147477427"/>
          </p14:sldIdLst>
        </p14:section>
        <p14:section name="Category Price Point Distribution Analysis P12M ByManuf" id="{5D838E7A-E37C-4A84-8A38-350210B0F2E4}">
          <p14:sldIdLst>
            <p14:sldId id="2147477428"/>
            <p14:sldId id="2147477429"/>
            <p14:sldId id="2147477430"/>
            <p14:sldId id="2147477431"/>
            <p14:sldId id="2147477432"/>
          </p14:sldIdLst>
        </p14:section>
        <p14:section name="Sector Price Point Distribution Analysis P3M ByManuf" id="{B9C34737-02C1-41DB-AB7A-0E87AE903B5A}">
          <p14:sldIdLst>
            <p14:sldId id="2147477433"/>
            <p14:sldId id="2147477434"/>
            <p14:sldId id="2147477435"/>
            <p14:sldId id="2147477436"/>
            <p14:sldId id="2147477437"/>
          </p14:sldIdLst>
        </p14:section>
        <p14:section name="Sector Price Point Distribution Analysis P12M ByManuf" id="{83F5558B-4974-4B64-AB8F-D142D778D0F8}">
          <p14:sldIdLst>
            <p14:sldId id="2147477438"/>
            <p14:sldId id="2147477439"/>
            <p14:sldId id="2147477440"/>
            <p14:sldId id="2147477441"/>
            <p14:sldId id="2147477442"/>
          </p14:sldIdLst>
        </p14:section>
        <p14:section name="Price Point Comparison Analysis by Manuf" id="{8FA52181-A816-4587-99EA-E6BF3010DA8F}">
          <p14:sldIdLst>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Lst>
        </p14:section>
        <p14:section name="Price Point Comparison Analysis by Product" id="{3C0F9D8B-C0D6-490A-A736-F0D4148B84B2}">
          <p14:sldIdLst>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Lst>
        </p14:section>
        <p14:section name="Price Point Distribution Analysis By Brand" id="{B8560850-A054-42EA-AA0D-BF1782B69546}">
          <p14:sldIdLst>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Lst>
        </p14:section>
        <p14:section name="Price Point Distribution By Brand By Sector" id="{B6B51FA4-4BAD-4FCB-A212-5500C62A9DD8}">
          <p14:sldIdLst>
            <p14:sldId id="2147477729"/>
            <p14:sldId id="2147477730"/>
            <p14:sldId id="2147477731"/>
            <p14:sldId id="2147477732"/>
            <p14:sldId id="2147477733"/>
          </p14:sldIdLst>
        </p14:section>
        <p14:section name="Price Point Distribution By Brand By Segment" id="{FF29AA0C-0009-4653-A1BA-0469334D0953}">
          <p14:sldIdLst>
            <p14:sldId id="2147477734"/>
            <p14:sldId id="2147477735"/>
            <p14:sldId id="2147477736"/>
            <p14:sldId id="2147477737"/>
            <p14:sldId id="21474777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notesMaster" Target="notesMasters/notesMaster1.xml"/><Relationship Id="rId380" Type="http://schemas.openxmlformats.org/officeDocument/2006/relationships/presProps" Target="presProps.xml"/><Relationship Id="rId381" Type="http://schemas.openxmlformats.org/officeDocument/2006/relationships/viewProps" Target="viewProps.xml"/><Relationship Id="rId382" Type="http://schemas.openxmlformats.org/officeDocument/2006/relationships/theme" Target="theme/theme1.xml"/><Relationship Id="rId383" Type="http://schemas.openxmlformats.org/officeDocument/2006/relationships/tableStyles" Target="tableStyles.xml"/><Relationship Id="rId38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dLblPos val="t"/>
              <c:showLegendKey val="0"/>
              <c:showVal val="1"/>
              <c:showCatName val="0"/>
              <c:showSerName val="0"/>
              <c:showPercent val="0"/>
              <c:showBubbleSize val="0"/>
            </c:dLbl>
            <c:dLbl>
              <c:idx val="1"/>
              <c:tx>
                <c:rich>
                  <a:bodyPr/>
                  <a:lstStyle/>
                  <a:p>
                    <a:r>
                      <a:t>301.59</a:t>
                    </a:r>
                  </a:p>
                </c:rich>
              </c:tx>
              <c:dLblPos val="t"/>
              <c:showLegendKey val="0"/>
              <c:showVal val="1"/>
              <c:showCatName val="0"/>
              <c:showSerName val="0"/>
              <c:showPercent val="0"/>
              <c:showBubbleSize val="0"/>
            </c:dLbl>
            <c:dLbl>
              <c:idx val="2"/>
              <c:tx>
                <c:rich>
                  <a:bodyPr/>
                  <a:lstStyle/>
                  <a:p>
                    <a:r>
                      <a:t>305.15</a:t>
                    </a:r>
                  </a:p>
                </c:rich>
              </c:tx>
              <c:dLblPos val="t"/>
              <c:showLegendKey val="0"/>
              <c:showVal val="1"/>
              <c:showCatName val="0"/>
              <c:showSerName val="0"/>
              <c:showPercent val="0"/>
              <c:showBubbleSize val="0"/>
            </c:dLbl>
            <c:dLbl>
              <c:idx val="3"/>
              <c:tx>
                <c:rich>
                  <a:bodyPr/>
                  <a:lstStyle/>
                  <a:p>
                    <a:r>
                      <a:t>325.25</a:t>
                    </a:r>
                  </a:p>
                </c:rich>
              </c:tx>
              <c:dLblPos val="t"/>
              <c:showLegendKey val="0"/>
              <c:showVal val="1"/>
              <c:showCatName val="0"/>
              <c:showSerName val="0"/>
              <c:showPercent val="0"/>
              <c:showBubbleSize val="0"/>
            </c:dLbl>
            <c:dLbl>
              <c:idx val="4"/>
              <c:tx>
                <c:rich>
                  <a:bodyPr/>
                  <a:lstStyle/>
                  <a:p>
                    <a:r>
                      <a:t>311.89</a:t>
                    </a:r>
                  </a:p>
                </c:rich>
              </c:tx>
              <c:dLblPos val="t"/>
              <c:showLegendKey val="0"/>
              <c:showVal val="1"/>
              <c:showCatName val="0"/>
              <c:showSerName val="0"/>
              <c:showPercent val="0"/>
              <c:showBubbleSize val="0"/>
            </c:dLbl>
            <c:dLbl>
              <c:idx val="5"/>
              <c:tx>
                <c:rich>
                  <a:bodyPr/>
                  <a:lstStyle/>
                  <a:p>
                    <a:r>
                      <a:t>188.44</a:t>
                    </a:r>
                  </a:p>
                </c:rich>
              </c:tx>
              <c:dLblPos val="t"/>
              <c:showLegendKey val="0"/>
              <c:showVal val="1"/>
              <c:showCatName val="0"/>
              <c:showSerName val="0"/>
              <c:showPercent val="0"/>
              <c:showBubbleSize val="0"/>
            </c:dLbl>
            <c:dLbl>
              <c:idx val="6"/>
              <c:tx>
                <c:rich>
                  <a:bodyPr/>
                  <a:lstStyle/>
                  <a:p>
                    <a:r>
                      <a:t>101.93</a:t>
                    </a:r>
                  </a:p>
                </c:rich>
              </c:tx>
              <c:dLblPos val="t"/>
              <c:showLegendKey val="0"/>
              <c:showVal val="1"/>
              <c:showCatName val="0"/>
              <c:showSerName val="0"/>
              <c:showPercent val="0"/>
              <c:showBubbleSize val="0"/>
            </c:dLbl>
            <c:dLbl>
              <c:idx val="7"/>
              <c:tx>
                <c:rich>
                  <a:bodyPr/>
                  <a:lstStyle/>
                  <a:p>
                    <a:r>
                      <a:t>297.28</a:t>
                    </a:r>
                  </a:p>
                </c:rich>
              </c:tx>
              <c:dLblPos val="t"/>
              <c:showLegendKey val="0"/>
              <c:showVal val="1"/>
              <c:showCatName val="0"/>
              <c:showSerName val="0"/>
              <c:showPercent val="0"/>
              <c:showBubbleSize val="0"/>
            </c:dLbl>
            <c:dLbl>
              <c:idx val="8"/>
              <c:tx>
                <c:rich>
                  <a:bodyPr/>
                  <a:lstStyle/>
                  <a:p>
                    <a:r>
                      <a:t>295.27</a:t>
                    </a:r>
                  </a:p>
                </c:rich>
              </c:tx>
              <c:dLblPos val="t"/>
              <c:showLegendKey val="0"/>
              <c:showVal val="1"/>
              <c:showCatName val="0"/>
              <c:showSerName val="0"/>
              <c:showPercent val="0"/>
              <c:showBubbleSize val="0"/>
            </c:dLbl>
            <c:dLbl>
              <c:idx val="9"/>
              <c:tx>
                <c:rich>
                  <a:bodyPr/>
                  <a:lstStyle/>
                  <a:p>
                    <a:r>
                      <a:t>86.25</a:t>
                    </a:r>
                  </a:p>
                </c:rich>
              </c:tx>
              <c:dLblPos val="t"/>
              <c:showLegendKey val="0"/>
              <c:showVal val="1"/>
              <c:showCatName val="0"/>
              <c:showSerName val="0"/>
              <c:showPercent val="0"/>
              <c:showBubbleSize val="0"/>
            </c:dLbl>
            <c:dLbl>
              <c:idx val="10"/>
              <c:tx>
                <c:rich>
                  <a:bodyPr/>
                  <a:lstStyle/>
                  <a:p>
                    <a:r>
                      <a:t>309.44</a:t>
                    </a:r>
                  </a:p>
                </c:rich>
              </c:tx>
              <c:dLblPos val="t"/>
              <c:showLegendKey val="0"/>
              <c:showVal val="1"/>
              <c:showCatName val="0"/>
              <c:showSerName val="0"/>
              <c:showPercent val="0"/>
              <c:showBubbleSize val="0"/>
            </c:dLbl>
            <c:dLbl>
              <c:idx val="11"/>
              <c:tx>
                <c:rich>
                  <a:bodyPr/>
                  <a:lstStyle/>
                  <a:p>
                    <a:r>
                      <a:t>292.64</a:t>
                    </a:r>
                  </a:p>
                </c:rich>
              </c:tx>
              <c:dLblPos val="t"/>
              <c:showLegendKey val="0"/>
              <c:showVal val="1"/>
              <c:showCatName val="0"/>
              <c:showSerName val="0"/>
              <c:showPercent val="0"/>
              <c:showBubbleSize val="0"/>
            </c:dLbl>
            <c:dLbl>
              <c:idx val="12"/>
              <c:tx>
                <c:rich>
                  <a:bodyPr/>
                  <a:lstStyle/>
                  <a:p>
                    <a:r>
                      <a:t>189.58</a:t>
                    </a:r>
                  </a:p>
                </c:rich>
              </c:tx>
              <c:dLblPos val="t"/>
              <c:showLegendKey val="0"/>
              <c:showVal val="1"/>
              <c:showCatName val="0"/>
              <c:showSerName val="0"/>
              <c:showPercent val="0"/>
              <c:showBubbleSize val="0"/>
            </c:dLbl>
            <c:dLbl>
              <c:idx val="13"/>
              <c:tx>
                <c:rich>
                  <a:bodyPr/>
                  <a:lstStyle/>
                  <a:p>
                    <a:r>
                      <a:t>283.84</a:t>
                    </a:r>
                  </a:p>
                </c:rich>
              </c:tx>
              <c:dLblPos val="t"/>
              <c:showLegendKey val="0"/>
              <c:showVal val="1"/>
              <c:showCatName val="0"/>
              <c:showSerName val="0"/>
              <c:showPercent val="0"/>
              <c:showBubbleSize val="0"/>
            </c:dLbl>
            <c:dLbl>
              <c:idx val="14"/>
              <c:tx>
                <c:rich>
                  <a:bodyPr/>
                  <a:lstStyle/>
                  <a:p>
                    <a:r>
                      <a:t>18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Sheer Touch Sunscreen Adults Cosmetics Crema 50 120Ml</c:v>
                </c:pt>
                <c:pt idx="6">
                  <c:v>Edgewell Hawaiian Tropic Ozono Sunscreen Adults Cosmetics Liquido 50+ 90Ml</c:v>
                </c:pt>
                <c:pt idx="7">
                  <c:v>Edgewell Hawaiian Tropic Silk Hydration Sunscreen Adults Cosmetics Liquido 50 180Ml</c:v>
                </c:pt>
                <c:pt idx="8">
                  <c:v>Edgewell Hawaiian Tropic Sheer Touch Sunscreen Adults Cosmetics Crema 30 - 49 240Ml</c:v>
                </c:pt>
                <c:pt idx="9">
                  <c:v>Edgewell Hawaiian Tropic Island Sport Sunscreen Adults Sport Liquido 50 60Ml</c:v>
                </c:pt>
                <c:pt idx="10">
                  <c:v>Edgewell Hawaiian Tropic Silk Hydration Sunscreen Adults Cosmetics Spray Liquido 50+ 180Ml</c:v>
                </c:pt>
                <c:pt idx="11">
                  <c:v>Edgewell Hawaiian Tropic Tanning Sunscreen Adults Cosmetics Spray Liquido 15 - 19 220Ml</c:v>
                </c:pt>
                <c:pt idx="12">
                  <c:v>Edgewell Hawaiian Tropic Ozono Sunscreen Adults Cosmetics Liquido 50+ 12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2.7</c:v>
                </c:pt>
                <c:pt idx="1">
                  <c:v>301.59</c:v>
                </c:pt>
                <c:pt idx="2">
                  <c:v>305.15</c:v>
                </c:pt>
                <c:pt idx="3">
                  <c:v>325.25</c:v>
                </c:pt>
                <c:pt idx="4">
                  <c:v>311.89</c:v>
                </c:pt>
                <c:pt idx="5">
                  <c:v>188.44</c:v>
                </c:pt>
                <c:pt idx="6">
                  <c:v>101.93</c:v>
                </c:pt>
                <c:pt idx="7">
                  <c:v>297.28</c:v>
                </c:pt>
                <c:pt idx="8">
                  <c:v>295.27</c:v>
                </c:pt>
                <c:pt idx="9">
                  <c:v>86.25</c:v>
                </c:pt>
                <c:pt idx="10">
                  <c:v>309.44</c:v>
                </c:pt>
                <c:pt idx="11">
                  <c:v>292.64</c:v>
                </c:pt>
                <c:pt idx="12">
                  <c:v>189.58</c:v>
                </c:pt>
                <c:pt idx="13">
                  <c:v>283.84</c:v>
                </c:pt>
                <c:pt idx="14">
                  <c:v>18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326.59</a:t>
                    </a:r>
                  </a:p>
                </c:rich>
              </c:tx>
              <c:dLblPos val="t"/>
              <c:showLegendKey val="0"/>
              <c:showVal val="1"/>
              <c:showCatName val="0"/>
              <c:showSerName val="0"/>
              <c:showPercent val="0"/>
              <c:showBubbleSize val="0"/>
            </c:dLbl>
            <c:dLbl>
              <c:idx val="2"/>
              <c:tx>
                <c:rich>
                  <a:bodyPr/>
                  <a:lstStyle/>
                  <a:p>
                    <a:r>
                      <a:t>290.34</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tx>
                <c:rich>
                  <a:bodyPr/>
                  <a:lstStyle/>
                  <a:p>
                    <a:r>
                      <a:t>311.93</a:t>
                    </a:r>
                  </a:p>
                </c:rich>
              </c:tx>
              <c:dLblPos val="t"/>
              <c:showLegendKey val="0"/>
              <c:showVal val="1"/>
              <c:showCatName val="0"/>
              <c:showSerName val="0"/>
              <c:showPercent val="0"/>
              <c:showBubbleSize val="0"/>
            </c:dLbl>
            <c:dLbl>
              <c:idx val="5"/>
              <c:tx>
                <c:rich>
                  <a:bodyPr/>
                  <a:lstStyle/>
                  <a:p>
                    <a:r>
                      <a:t>298.88</a:t>
                    </a:r>
                  </a:p>
                </c:rich>
              </c:tx>
              <c:dLblPos val="t"/>
              <c:showLegendKey val="0"/>
              <c:showVal val="1"/>
              <c:showCatName val="0"/>
              <c:showSerName val="0"/>
              <c:showPercent val="0"/>
              <c:showBubbleSize val="0"/>
            </c:dLbl>
            <c:dLbl>
              <c:idx val="6"/>
              <c:tx>
                <c:rich>
                  <a:bodyPr/>
                  <a:lstStyle/>
                  <a:p>
                    <a:r>
                      <a:t>312.87</a:t>
                    </a:r>
                  </a:p>
                </c:rich>
              </c:tx>
              <c:dLblPos val="t"/>
              <c:showLegendKey val="0"/>
              <c:showVal val="1"/>
              <c:showCatName val="0"/>
              <c:showSerName val="0"/>
              <c:showPercent val="0"/>
              <c:showBubbleSize val="0"/>
            </c:dLbl>
            <c:dLbl>
              <c:idx val="7"/>
              <c:tx>
                <c:rich>
                  <a:bodyPr/>
                  <a:lstStyle/>
                  <a:p>
                    <a:r>
                      <a:t>85.64</a:t>
                    </a:r>
                  </a:p>
                </c:rich>
              </c:tx>
              <c:dLblPos val="t"/>
              <c:showLegendKey val="0"/>
              <c:showVal val="1"/>
              <c:showCatName val="0"/>
              <c:showSerName val="0"/>
              <c:showPercent val="0"/>
              <c:showBubbleSize val="0"/>
            </c:dLbl>
            <c:dLbl>
              <c:idx val="8"/>
              <c:tx>
                <c:rich>
                  <a:bodyPr/>
                  <a:lstStyle/>
                  <a:p>
                    <a:r>
                      <a:t>254.2</a:t>
                    </a:r>
                  </a:p>
                </c:rich>
              </c:tx>
              <c:dLblPos val="t"/>
              <c:showLegendKey val="0"/>
              <c:showVal val="1"/>
              <c:showCatName val="0"/>
              <c:showSerName val="0"/>
              <c:showPercent val="0"/>
              <c:showBubbleSize val="0"/>
            </c:dLbl>
            <c:dLbl>
              <c:idx val="9"/>
              <c:tx>
                <c:rich>
                  <a:bodyPr/>
                  <a:lstStyle/>
                  <a:p>
                    <a:r>
                      <a:t>316.99</a:t>
                    </a:r>
                  </a:p>
                </c:rich>
              </c:tx>
              <c:dLblPos val="t"/>
              <c:showLegendKey val="0"/>
              <c:showVal val="1"/>
              <c:showCatName val="0"/>
              <c:showSerName val="0"/>
              <c:showPercent val="0"/>
              <c:showBubbleSize val="0"/>
            </c:dLbl>
            <c:dLbl>
              <c:idx val="10"/>
              <c:tx>
                <c:rich>
                  <a:bodyPr/>
                  <a:lstStyle/>
                  <a:p>
                    <a:r>
                      <a:t>296.2</a:t>
                    </a:r>
                  </a:p>
                </c:rich>
              </c:tx>
              <c:dLblPos val="t"/>
              <c:showLegendKey val="0"/>
              <c:showVal val="1"/>
              <c:showCatName val="0"/>
              <c:showSerName val="0"/>
              <c:showPercent val="0"/>
              <c:showBubbleSize val="0"/>
            </c:dLbl>
            <c:dLbl>
              <c:idx val="11"/>
              <c:tx>
                <c:rich>
                  <a:bodyPr/>
                  <a:lstStyle/>
                  <a:p>
                    <a:r>
                      <a:t>316.7</a:t>
                    </a:r>
                  </a:p>
                </c:rich>
              </c:tx>
              <c:dLblPos val="t"/>
              <c:showLegendKey val="0"/>
              <c:showVal val="1"/>
              <c:showCatName val="0"/>
              <c:showSerName val="0"/>
              <c:showPercent val="0"/>
              <c:showBubbleSize val="0"/>
            </c:dLbl>
            <c:dLbl>
              <c:idx val="12"/>
              <c:tx>
                <c:rich>
                  <a:bodyPr/>
                  <a:lstStyle/>
                  <a:p>
                    <a:r>
                      <a:t>260.99</a:t>
                    </a:r>
                  </a:p>
                </c:rich>
              </c:tx>
              <c:dLblPos val="t"/>
              <c:showLegendKey val="0"/>
              <c:showVal val="1"/>
              <c:showCatName val="0"/>
              <c:showSerName val="0"/>
              <c:showPercent val="0"/>
              <c:showBubbleSize val="0"/>
            </c:dLbl>
            <c:dLbl>
              <c:idx val="13"/>
              <c:tx>
                <c:rich>
                  <a:bodyPr/>
                  <a:lstStyle/>
                  <a:p>
                    <a:r>
                      <a:t>318.71</a:t>
                    </a:r>
                  </a:p>
                </c:rich>
              </c:tx>
              <c:dLblPos val="t"/>
              <c:showLegendKey val="0"/>
              <c:showVal val="1"/>
              <c:showCatName val="0"/>
              <c:showSerName val="0"/>
              <c:showPercent val="0"/>
              <c:showBubbleSize val="0"/>
            </c:dLbl>
            <c:dLbl>
              <c:idx val="14"/>
              <c:tx>
                <c:rich>
                  <a:bodyPr/>
                  <a:lstStyle/>
                  <a:p>
                    <a:r>
                      <a:t>132.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dvanced Protection Sunscreen Adults Cosmetics Liquido 50+ 240Ml</c:v>
                </c:pt>
                <c:pt idx="6">
                  <c:v>Edgewell Banana Boat Aqua Protect Sunscreen Adults Cosmetics Spray Liquido 50+ 170Ml</c:v>
                </c:pt>
                <c:pt idx="7">
                  <c:v>Edgewell Banana Boat Advanced Protection Sunscreen Adults Cosmetics Liquido 50+ 60Ml</c:v>
                </c:pt>
                <c:pt idx="8">
                  <c:v>Edgewell Banana Boat Advanced Protection Sunscreen Adults Cosmetics Liquido 50 180Ml</c:v>
                </c:pt>
                <c:pt idx="9">
                  <c:v>Edgewell Banana Boat Mineral Sunscreen Adults Cosmetics Locion 50 180Ml</c:v>
                </c:pt>
                <c:pt idx="10">
                  <c:v>Edgewell Banana Boat Dry Balance Sunscreen Adults Sport Crema 50+ 180Ml</c:v>
                </c:pt>
                <c:pt idx="11">
                  <c:v>Edgewell Banana Boat Mineral Sunscreen Kids Cosmetics Locion 50 180Ml</c:v>
                </c:pt>
                <c:pt idx="12">
                  <c:v>Edgewell Banana Boat Kids Sport Sunscreen Kids Cosmetics Crema 50 180Ml</c:v>
                </c:pt>
                <c:pt idx="13">
                  <c:v>Edgewell Banana Boat Mineral Sunscreen Adults Sport Locion 50 180Ml</c:v>
                </c:pt>
                <c:pt idx="14">
                  <c:v>Edgewell Banana Boat After Sun After Sun Adults Cosmetics Gel 0 - 5 230Ml</c:v>
                </c:pt>
              </c:strCache>
            </c:strRef>
          </c:cat>
          <c:val>
            <c:numRef>
              <c:f>Sheet1!$B$2:$B$16</c:f>
              <c:numCache>
                <c:formatCode>General</c:formatCode>
                <c:ptCount val="15"/>
                <c:pt idx="0">
                  <c:v>281.61</c:v>
                </c:pt>
                <c:pt idx="1">
                  <c:v>326.59</c:v>
                </c:pt>
                <c:pt idx="2">
                  <c:v>290.34</c:v>
                </c:pt>
                <c:pt idx="3">
                  <c:v>268.26</c:v>
                </c:pt>
                <c:pt idx="4">
                  <c:v>311.93</c:v>
                </c:pt>
                <c:pt idx="5">
                  <c:v>298.88</c:v>
                </c:pt>
                <c:pt idx="6">
                  <c:v>312.87</c:v>
                </c:pt>
                <c:pt idx="7">
                  <c:v>85.64</c:v>
                </c:pt>
                <c:pt idx="8">
                  <c:v>254.2</c:v>
                </c:pt>
                <c:pt idx="9">
                  <c:v>316.99</c:v>
                </c:pt>
                <c:pt idx="10">
                  <c:v>296.2</c:v>
                </c:pt>
                <c:pt idx="11">
                  <c:v>316.7</c:v>
                </c:pt>
                <c:pt idx="12">
                  <c:v>260.99</c:v>
                </c:pt>
                <c:pt idx="13">
                  <c:v>318.71</c:v>
                </c:pt>
                <c:pt idx="14">
                  <c:v>13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18.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5.64</a:t>
                    </a:r>
                  </a:p>
                </c:rich>
              </c:tx>
              <c:showLegendKey val="0"/>
              <c:showVal val="1"/>
              <c:showCatName val="0"/>
              <c:showSerName val="0"/>
              <c:showPercent val="0"/>
              <c:showBubbleSize val="0"/>
            </c:dLbl>
            <c:dLbl>
              <c:idx val="1"/>
              <c:tx>
                <c:rich>
                  <a:bodyPr/>
                  <a:lstStyle/>
                  <a:p>
                    <a:r>
                      <a:t>407.99</a:t>
                    </a:r>
                  </a:p>
                </c:rich>
              </c:tx>
              <c:showLegendKey val="0"/>
              <c:showVal val="1"/>
              <c:showCatName val="0"/>
              <c:showSerName val="0"/>
              <c:showPercent val="0"/>
              <c:showBubbleSize val="0"/>
            </c:dLbl>
            <c:dLbl>
              <c:idx val="2"/>
              <c:tx>
                <c:rich>
                  <a:bodyPr/>
                  <a:lstStyle/>
                  <a:p>
                    <a:r>
                      <a:t>333.63</a:t>
                    </a:r>
                  </a:p>
                </c:rich>
              </c:tx>
              <c:showLegendKey val="0"/>
              <c:showVal val="1"/>
              <c:showCatName val="0"/>
              <c:showSerName val="0"/>
              <c:showPercent val="0"/>
              <c:showBubbleSize val="0"/>
            </c:dLbl>
            <c:dLbl>
              <c:idx val="3"/>
              <c:tx>
                <c:rich>
                  <a:bodyPr/>
                  <a:lstStyle/>
                  <a:p>
                    <a:r>
                      <a:t>158.65</a:t>
                    </a:r>
                  </a:p>
                </c:rich>
              </c:tx>
              <c:showLegendKey val="0"/>
              <c:showVal val="1"/>
              <c:showCatName val="0"/>
              <c:showSerName val="0"/>
              <c:showPercent val="0"/>
              <c:showBubbleSize val="0"/>
            </c:dLbl>
            <c:dLbl>
              <c:idx val="4"/>
              <c:tx>
                <c:rich>
                  <a:bodyPr/>
                  <a:lstStyle/>
                  <a:p>
                    <a:r>
                      <a:t>1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Dry Balance Sunscreen Adults Sport Spray 50+ 170Ml</c:v>
                </c:pt>
                <c:pt idx="1">
                  <c:v>Australian Gold Australian Gold Sunscreen Adults Sport Spray 50 170Ml</c:v>
                </c:pt>
                <c:pt idx="2">
                  <c:v>Sun &amp; Skin Care Research Ocean Potion Sunscreen Adults Sport Spray 50 156Ml</c:v>
                </c:pt>
                <c:pt idx="3">
                  <c:v>Others Fabricante Unif. Others Marca Unif. Sunscreen Adults Sport Spray 50+ 170Ml</c:v>
                </c:pt>
                <c:pt idx="4">
                  <c:v>Others Fabricante Unif. Others Marca Unif. Sunscreen Adults Sport Spray 50+ 150Ml</c:v>
                </c:pt>
              </c:strCache>
            </c:strRef>
          </c:cat>
          <c:val>
            <c:numRef>
              <c:f>Sheet1!$B$2:$B$6</c:f>
              <c:numCache>
                <c:formatCode>General</c:formatCode>
                <c:ptCount val="5"/>
                <c:pt idx="0">
                  <c:v>335.64</c:v>
                </c:pt>
                <c:pt idx="1">
                  <c:v>407.99</c:v>
                </c:pt>
                <c:pt idx="2">
                  <c:v>333.63</c:v>
                </c:pt>
                <c:pt idx="3">
                  <c:v>158.65</c:v>
                </c:pt>
                <c:pt idx="4">
                  <c:v>1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55.91</a:t>
                    </a:r>
                  </a:p>
                </c:rich>
              </c:tx>
              <c:showLegendKey val="0"/>
              <c:showVal val="1"/>
              <c:showCatName val="0"/>
              <c:showSerName val="0"/>
              <c:showPercent val="0"/>
              <c:showBubbleSize val="0"/>
            </c:dLbl>
            <c:dLbl>
              <c:idx val="2"/>
              <c:tx>
                <c:rich>
                  <a:bodyPr/>
                  <a:lstStyle/>
                  <a:p>
                    <a:r>
                      <a:t>235.8</a:t>
                    </a:r>
                  </a:p>
                </c:rich>
              </c:tx>
              <c:showLegendKey val="0"/>
              <c:showVal val="1"/>
              <c:showCatName val="0"/>
              <c:showSerName val="0"/>
              <c:showPercent val="0"/>
              <c:showBubbleSize val="0"/>
            </c:dLbl>
            <c:dLbl>
              <c:idx val="3"/>
              <c:tx>
                <c:rich>
                  <a:bodyPr/>
                  <a:lstStyle/>
                  <a:p>
                    <a:r>
                      <a:t>371.44</a:t>
                    </a:r>
                  </a:p>
                </c:rich>
              </c:tx>
              <c:showLegendKey val="0"/>
              <c:showVal val="1"/>
              <c:showCatName val="0"/>
              <c:showSerName val="0"/>
              <c:showPercent val="0"/>
              <c:showBubbleSize val="0"/>
            </c:dLbl>
            <c:dLbl>
              <c:idx val="4"/>
              <c:tx>
                <c:rich>
                  <a:bodyPr/>
                  <a:lstStyle/>
                  <a:p>
                    <a:r>
                      <a:t>317.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Tanning Sunscreen Adults Cosmetics Aceite 15 - 19 240Ml</c:v>
                </c:pt>
                <c:pt idx="1">
                  <c:v>Others Fabricante Unif. Others Marca Unif. Sunscreen Adults Cosmetics Aceite 30 - 49 75Ml</c:v>
                </c:pt>
                <c:pt idx="2">
                  <c:v>Others Fabricante Unif. Others Marca Unif. Sunscreen Adults Cosmetics Aceite 30 - 49 150Ml</c:v>
                </c:pt>
                <c:pt idx="3">
                  <c:v>Others Fabricante Unif. Others Marca Unif. Sunscreen Adults Cosmetics Spray Aceite 30 200Ml</c:v>
                </c:pt>
                <c:pt idx="4">
                  <c:v>Others Fabricante Unif. Others Marca Unif. Sunscreen Kids Cosmetics Spray Aceite 50+ 177Ml</c:v>
                </c:pt>
              </c:strCache>
            </c:strRef>
          </c:cat>
          <c:val>
            <c:numRef>
              <c:f>Sheet1!$B$2:$B$6</c:f>
              <c:numCache>
                <c:formatCode>General</c:formatCode>
                <c:ptCount val="5"/>
                <c:pt idx="0">
                  <c:v>399.0</c:v>
                </c:pt>
                <c:pt idx="1">
                  <c:v>155.91</c:v>
                </c:pt>
                <c:pt idx="2">
                  <c:v>235.8</c:v>
                </c:pt>
                <c:pt idx="3">
                  <c:v>371.44</c:v>
                </c:pt>
                <c:pt idx="4">
                  <c:v>317.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290.72</a:t>
                    </a:r>
                  </a:p>
                </c:rich>
              </c:tx>
              <c:showLegendKey val="0"/>
              <c:showVal val="1"/>
              <c:showCatName val="0"/>
              <c:showSerName val="0"/>
              <c:showPercent val="0"/>
              <c:showBubbleSize val="0"/>
            </c:dLbl>
            <c:dLbl>
              <c:idx val="2"/>
              <c:tx>
                <c:rich>
                  <a:bodyPr/>
                  <a:lstStyle/>
                  <a:p>
                    <a:r>
                      <a:t>189.32</a:t>
                    </a:r>
                  </a:p>
                </c:rich>
              </c:tx>
              <c:showLegendKey val="0"/>
              <c:showVal val="1"/>
              <c:showCatName val="0"/>
              <c:showSerName val="0"/>
              <c:showPercent val="0"/>
              <c:showBubbleSize val="0"/>
            </c:dLbl>
            <c:dLbl>
              <c:idx val="3"/>
              <c:tx>
                <c:rich>
                  <a:bodyPr/>
                  <a:lstStyle/>
                  <a:p>
                    <a:r>
                      <a:t>301.33</a:t>
                    </a:r>
                  </a:p>
                </c:rich>
              </c:tx>
              <c:showLegendKey val="0"/>
              <c:showVal val="1"/>
              <c:showCatName val="0"/>
              <c:showSerName val="0"/>
              <c:showPercent val="0"/>
              <c:showBubbleSize val="0"/>
            </c:dLbl>
            <c:dLbl>
              <c:idx val="4"/>
              <c:tx>
                <c:rich>
                  <a:bodyPr/>
                  <a:lstStyle/>
                  <a:p>
                    <a:r>
                      <a:t>276.49</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281.02</a:t>
                    </a:r>
                  </a:p>
                </c:rich>
              </c:tx>
              <c:showLegendKey val="0"/>
              <c:showVal val="1"/>
              <c:showCatName val="0"/>
              <c:showSerName val="0"/>
              <c:showPercent val="0"/>
              <c:showBubbleSize val="0"/>
            </c:dLbl>
            <c:dLbl>
              <c:idx val="8"/>
              <c:tx>
                <c:rich>
                  <a:bodyPr/>
                  <a:lstStyle/>
                  <a:p>
                    <a:r>
                      <a:t>262.13</a:t>
                    </a:r>
                  </a:p>
                </c:rich>
              </c:tx>
              <c:showLegendKey val="0"/>
              <c:showVal val="1"/>
              <c:showCatName val="0"/>
              <c:showSerName val="0"/>
              <c:showPercent val="0"/>
              <c:showBubbleSize val="0"/>
            </c:dLbl>
            <c:dLbl>
              <c:idx val="9"/>
              <c:tx>
                <c:rich>
                  <a:bodyPr/>
                  <a:lstStyle/>
                  <a:p>
                    <a:r>
                      <a:t>305.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Banana Boat Aqua Protect Sunscreen Adults Cosmetics Crema 50+ 236Ml</c:v>
                </c:pt>
                <c:pt idx="2">
                  <c:v>Edgewell Hawaiian Tropic Sheer Touch Sunscreen Adults Cosmetics Crema 50 120Ml</c:v>
                </c:pt>
                <c:pt idx="3">
                  <c:v>Edgewell Hawaiian Tropic Sheer Touch Sunscreen Adults Cosmetics Crema 30 - 49 240Ml</c:v>
                </c:pt>
                <c:pt idx="4">
                  <c:v>Edgewell Banana Boat Kids Sport Sunscreen Kids Cosmetics Crema 50 180Ml</c:v>
                </c:pt>
                <c:pt idx="5">
                  <c:v>Beiersdorf Nivea Sunscreen Adults Cosmetics Crema 50 50Ml</c:v>
                </c:pt>
                <c:pt idx="6">
                  <c:v>Beiersdorf Nivea Sunscreen Adults Cosmetics Crema 50+ 200Ml</c:v>
                </c:pt>
                <c:pt idx="7">
                  <c:v>Beiersdorf Nivea Sunscreen Adults Cosmetics Crema 50+ 40Ml</c:v>
                </c:pt>
                <c:pt idx="8">
                  <c:v>Beiersdorf Nivea Sunscreen Adults Cosmetics Crema 50+ 50Ml</c:v>
                </c:pt>
                <c:pt idx="9">
                  <c:v>Beiersdorf Nivea Sunscreen Adults Cosmetics Crema 30 - 49 200Ml</c:v>
                </c:pt>
              </c:strCache>
            </c:strRef>
          </c:cat>
          <c:val>
            <c:numRef>
              <c:f>Sheet1!$B$2:$B$11</c:f>
              <c:numCache>
                <c:formatCode>General</c:formatCode>
                <c:ptCount val="10"/>
                <c:pt idx="0">
                  <c:v>305.74</c:v>
                </c:pt>
                <c:pt idx="1">
                  <c:v>290.72</c:v>
                </c:pt>
                <c:pt idx="2">
                  <c:v>189.32</c:v>
                </c:pt>
                <c:pt idx="3">
                  <c:v>301.33</c:v>
                </c:pt>
                <c:pt idx="4">
                  <c:v>276.49</c:v>
                </c:pt>
                <c:pt idx="5">
                  <c:v>281.56</c:v>
                </c:pt>
                <c:pt idx="6">
                  <c:v>316.47</c:v>
                </c:pt>
                <c:pt idx="7">
                  <c:v>281.02</c:v>
                </c:pt>
                <c:pt idx="8">
                  <c:v>262.13</c:v>
                </c:pt>
                <c:pt idx="9">
                  <c:v>305.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32</a:t>
                    </a:r>
                  </a:p>
                </c:rich>
              </c:tx>
              <c:showLegendKey val="0"/>
              <c:showVal val="1"/>
              <c:showCatName val="0"/>
              <c:showSerName val="0"/>
              <c:showPercent val="0"/>
              <c:showBubbleSize val="0"/>
            </c:dLbl>
            <c:dLbl>
              <c:idx val="1"/>
              <c:tx>
                <c:rich>
                  <a:bodyPr/>
                  <a:lstStyle/>
                  <a:p>
                    <a:r>
                      <a:t>314.71</a:t>
                    </a:r>
                  </a:p>
                </c:rich>
              </c:tx>
              <c:showLegendKey val="0"/>
              <c:showVal val="1"/>
              <c:showCatName val="0"/>
              <c:showSerName val="0"/>
              <c:showPercent val="0"/>
              <c:showBubbleSize val="0"/>
            </c:dLbl>
            <c:dLbl>
              <c:idx val="2"/>
              <c:tx>
                <c:rich>
                  <a:bodyPr/>
                  <a:lstStyle/>
                  <a:p>
                    <a:r>
                      <a:t>2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5.32</c:v>
                </c:pt>
                <c:pt idx="1">
                  <c:v>314.71</c:v>
                </c:pt>
                <c:pt idx="2">
                  <c:v>2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showLegendKey val="0"/>
              <c:showVal val="1"/>
              <c:showCatName val="0"/>
              <c:showSerName val="0"/>
              <c:showPercent val="0"/>
              <c:showBubbleSize val="0"/>
            </c:dLbl>
            <c:dLbl>
              <c:idx val="1"/>
              <c:tx>
                <c:rich>
                  <a:bodyPr/>
                  <a:lstStyle/>
                  <a:p>
                    <a:r>
                      <a:t>310.2</a:t>
                    </a:r>
                  </a:p>
                </c:rich>
              </c:tx>
              <c:showLegendKey val="0"/>
              <c:showVal val="1"/>
              <c:showCatName val="0"/>
              <c:showSerName val="0"/>
              <c:showPercent val="0"/>
              <c:showBubbleSize val="0"/>
            </c:dLbl>
            <c:dLbl>
              <c:idx val="2"/>
              <c:tx>
                <c:rich>
                  <a:bodyPr/>
                  <a:lstStyle/>
                  <a:p>
                    <a:r>
                      <a:t>317.39</a:t>
                    </a:r>
                  </a:p>
                </c:rich>
              </c:tx>
              <c:showLegendKey val="0"/>
              <c:showVal val="1"/>
              <c:showCatName val="0"/>
              <c:showSerName val="0"/>
              <c:showPercent val="0"/>
              <c:showBubbleSize val="0"/>
            </c:dLbl>
            <c:dLbl>
              <c:idx val="3"/>
              <c:tx>
                <c:rich>
                  <a:bodyPr/>
                  <a:lstStyle/>
                  <a:p>
                    <a:r>
                      <a:t>327.07</a:t>
                    </a:r>
                  </a:p>
                </c:rich>
              </c:tx>
              <c:showLegendKey val="0"/>
              <c:showVal val="1"/>
              <c:showCatName val="0"/>
              <c:showSerName val="0"/>
              <c:showPercent val="0"/>
              <c:showBubbleSize val="0"/>
            </c:dLbl>
            <c:dLbl>
              <c:idx val="4"/>
              <c:tx>
                <c:rich>
                  <a:bodyPr/>
                  <a:lstStyle/>
                  <a:p>
                    <a:r>
                      <a:t>102.57</a:t>
                    </a:r>
                  </a:p>
                </c:rich>
              </c:tx>
              <c:showLegendKey val="0"/>
              <c:showVal val="1"/>
              <c:showCatName val="0"/>
              <c:showSerName val="0"/>
              <c:showPercent val="0"/>
              <c:showBubbleSize val="0"/>
            </c:dLbl>
            <c:dLbl>
              <c:idx val="5"/>
              <c:tx>
                <c:rich>
                  <a:bodyPr/>
                  <a:lstStyle/>
                  <a:p>
                    <a:r>
                      <a:t>312.74</a:t>
                    </a:r>
                  </a:p>
                </c:rich>
              </c:tx>
              <c:showLegendKey val="0"/>
              <c:showVal val="1"/>
              <c:showCatName val="0"/>
              <c:showSerName val="0"/>
              <c:showPercent val="0"/>
              <c:showBubbleSize val="0"/>
            </c:dLbl>
            <c:dLbl>
              <c:idx val="6"/>
              <c:tx>
                <c:rich>
                  <a:bodyPr/>
                  <a:lstStyle/>
                  <a:p>
                    <a:r>
                      <a:t>186.08</a:t>
                    </a:r>
                  </a:p>
                </c:rich>
              </c:tx>
              <c:showLegendKey val="0"/>
              <c:showVal val="1"/>
              <c:showCatName val="0"/>
              <c:showSerName val="0"/>
              <c:showPercent val="0"/>
              <c:showBubbleSize val="0"/>
            </c:dLbl>
            <c:dLbl>
              <c:idx val="7"/>
              <c:tx>
                <c:rich>
                  <a:bodyPr/>
                  <a:lstStyle/>
                  <a:p>
                    <a:r>
                      <a:t>340.11</a:t>
                    </a:r>
                  </a:p>
                </c:rich>
              </c:tx>
              <c:showLegendKey val="0"/>
              <c:showVal val="1"/>
              <c:showCatName val="0"/>
              <c:showSerName val="0"/>
              <c:showPercent val="0"/>
              <c:showBubbleSize val="0"/>
            </c:dLbl>
            <c:dLbl>
              <c:idx val="8"/>
              <c:tx>
                <c:rich>
                  <a:bodyPr/>
                  <a:lstStyle/>
                  <a:p>
                    <a:r>
                      <a:t>298.8</a:t>
                    </a:r>
                  </a:p>
                </c:rich>
              </c:tx>
              <c:showLegendKey val="0"/>
              <c:showVal val="1"/>
              <c:showCatName val="0"/>
              <c:showSerName val="0"/>
              <c:showPercent val="0"/>
              <c:showBubbleSize val="0"/>
            </c:dLbl>
            <c:dLbl>
              <c:idx val="9"/>
              <c:tx>
                <c:rich>
                  <a:bodyPr/>
                  <a:lstStyle/>
                  <a:p>
                    <a:r>
                      <a:t>405.29</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9.05</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2.72</a:t>
                    </a:r>
                  </a:p>
                </c:rich>
              </c:tx>
              <c:showLegendKey val="0"/>
              <c:showVal val="1"/>
              <c:showCatName val="0"/>
              <c:showSerName val="0"/>
              <c:showPercent val="0"/>
              <c:showBubbleSize val="0"/>
            </c:dLbl>
            <c:dLbl>
              <c:idx val="14"/>
              <c:tx>
                <c:rich>
                  <a:bodyPr/>
                  <a:lstStyle/>
                  <a:p>
                    <a:r>
                      <a:t>168.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dvanced Protection Sunscreen Adults Cosmetics Liquido 50+ 240Ml</c:v>
                </c:pt>
                <c:pt idx="2">
                  <c:v>Edgewell Banana Boat Aqua Protect Sunscreen Adults Cosmetics Spray Liquido 50+ 170Ml</c:v>
                </c:pt>
                <c:pt idx="3">
                  <c:v>Edgewell Hawaiian Tropic Ozono Sunscreen Adults Cosmetics Spray Liquido 50+ 180Ml</c:v>
                </c:pt>
                <c:pt idx="4">
                  <c:v>Edgewell Hawaiian Tropic Ozono Sunscreen Adults Cosmetics Liquido 50+ 9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Kids Cosmetics Spray Liquido 50+ 200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pt idx="14">
                  <c:v>Others Fabricante Unif. Others Marca Unif. Sunscreen Kids Cosmetics Liquido 50 100Ml</c:v>
                </c:pt>
              </c:strCache>
            </c:strRef>
          </c:cat>
          <c:val>
            <c:numRef>
              <c:f>Sheet1!$B$2:$B$16</c:f>
              <c:numCache>
                <c:formatCode>General</c:formatCode>
                <c:ptCount val="15"/>
                <c:pt idx="0">
                  <c:v>306.84</c:v>
                </c:pt>
                <c:pt idx="1">
                  <c:v>310.2</c:v>
                </c:pt>
                <c:pt idx="2">
                  <c:v>317.39</c:v>
                </c:pt>
                <c:pt idx="3">
                  <c:v>327.07</c:v>
                </c:pt>
                <c:pt idx="4">
                  <c:v>102.57</c:v>
                </c:pt>
                <c:pt idx="5">
                  <c:v>312.74</c:v>
                </c:pt>
                <c:pt idx="6">
                  <c:v>186.08</c:v>
                </c:pt>
                <c:pt idx="7">
                  <c:v>340.11</c:v>
                </c:pt>
                <c:pt idx="8">
                  <c:v>298.8</c:v>
                </c:pt>
                <c:pt idx="9">
                  <c:v>405.29</c:v>
                </c:pt>
                <c:pt idx="10">
                  <c:v>1206.0</c:v>
                </c:pt>
                <c:pt idx="11">
                  <c:v>289.05</c:v>
                </c:pt>
                <c:pt idx="12">
                  <c:v>739.0</c:v>
                </c:pt>
                <c:pt idx="13">
                  <c:v>252.72</c:v>
                </c:pt>
                <c:pt idx="14">
                  <c:v>16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13</a:t>
                    </a:r>
                  </a:p>
                </c:rich>
              </c:tx>
              <c:showLegendKey val="0"/>
              <c:showVal val="1"/>
              <c:showCatName val="0"/>
              <c:showSerName val="0"/>
              <c:showPercent val="0"/>
              <c:showBubbleSize val="0"/>
            </c:dLbl>
            <c:dLbl>
              <c:idx val="1"/>
              <c:tx>
                <c:rich>
                  <a:bodyPr/>
                  <a:lstStyle/>
                  <a:p>
                    <a:r>
                      <a:t>355.95</a:t>
                    </a:r>
                  </a:p>
                </c:rich>
              </c:tx>
              <c:showLegendKey val="0"/>
              <c:showVal val="1"/>
              <c:showCatName val="0"/>
              <c:showSerName val="0"/>
              <c:showPercent val="0"/>
              <c:showBubbleSize val="0"/>
            </c:dLbl>
            <c:dLbl>
              <c:idx val="2"/>
              <c:tx>
                <c:rich>
                  <a:bodyPr/>
                  <a:lstStyle/>
                  <a:p>
                    <a:r>
                      <a:t>336.9</a:t>
                    </a:r>
                  </a:p>
                </c:rich>
              </c:tx>
              <c:showLegendKey val="0"/>
              <c:showVal val="1"/>
              <c:showCatName val="0"/>
              <c:showSerName val="0"/>
              <c:showPercent val="0"/>
              <c:showBubbleSize val="0"/>
            </c:dLbl>
            <c:dLbl>
              <c:idx val="3"/>
              <c:tx>
                <c:rich>
                  <a:bodyPr/>
                  <a:lstStyle/>
                  <a:p>
                    <a:r>
                      <a:t>330.14</a:t>
                    </a:r>
                  </a:p>
                </c:rich>
              </c:tx>
              <c:showLegendKey val="0"/>
              <c:showVal val="1"/>
              <c:showCatName val="0"/>
              <c:showSerName val="0"/>
              <c:showPercent val="0"/>
              <c:showBubbleSize val="0"/>
            </c:dLbl>
            <c:dLbl>
              <c:idx val="4"/>
              <c:tx>
                <c:rich>
                  <a:bodyPr/>
                  <a:lstStyle/>
                  <a:p>
                    <a:r>
                      <a:t>289.14</a:t>
                    </a:r>
                  </a:p>
                </c:rich>
              </c:tx>
              <c:showLegendKey val="0"/>
              <c:showVal val="1"/>
              <c:showCatName val="0"/>
              <c:showSerName val="0"/>
              <c:showPercent val="0"/>
              <c:showBubbleSize val="0"/>
            </c:dLbl>
            <c:dLbl>
              <c:idx val="5"/>
              <c:tx>
                <c:rich>
                  <a:bodyPr/>
                  <a:lstStyle/>
                  <a:p>
                    <a:r>
                      <a:t>417.81</a:t>
                    </a:r>
                  </a:p>
                </c:rich>
              </c:tx>
              <c:showLegendKey val="0"/>
              <c:showVal val="1"/>
              <c:showCatName val="0"/>
              <c:showSerName val="0"/>
              <c:showPercent val="0"/>
              <c:showBubbleSize val="0"/>
            </c:dLbl>
            <c:dLbl>
              <c:idx val="6"/>
              <c:tx>
                <c:rich>
                  <a:bodyPr/>
                  <a:lstStyle/>
                  <a:p>
                    <a:r>
                      <a:t>457.6</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204.11</a:t>
                    </a:r>
                  </a:p>
                </c:rich>
              </c:tx>
              <c:showLegendKey val="0"/>
              <c:showVal val="1"/>
              <c:showCatName val="0"/>
              <c:showSerName val="0"/>
              <c:showPercent val="0"/>
              <c:showBubbleSize val="0"/>
            </c:dLbl>
            <c:dLbl>
              <c:idx val="9"/>
              <c:tx>
                <c:rich>
                  <a:bodyPr/>
                  <a:lstStyle/>
                  <a:p>
                    <a:r>
                      <a:t>367.0</a:t>
                    </a:r>
                  </a:p>
                </c:rich>
              </c:tx>
              <c:showLegendKey val="0"/>
              <c:showVal val="1"/>
              <c:showCatName val="0"/>
              <c:showSerName val="0"/>
              <c:showPercent val="0"/>
              <c:showBubbleSize val="0"/>
            </c:dLbl>
            <c:dLbl>
              <c:idx val="10"/>
              <c:tx>
                <c:rich>
                  <a:bodyPr/>
                  <a:lstStyle/>
                  <a:p>
                    <a:r>
                      <a:t>241.54</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Mineral Sunscreen Adults Cosmetics Locion 50 180Ml</c:v>
                </c:pt>
                <c:pt idx="4">
                  <c:v>Edgewell Banana Boat Mineral Sunscreen Adults Cosmetics Locion 50 60Ml</c:v>
                </c:pt>
                <c:pt idx="5">
                  <c:v>Labs. Expanscience Mustela Sunscreen Kids Cosmetics Locion 50+ 40Ml</c:v>
                </c:pt>
                <c:pt idx="6">
                  <c:v>Labs. Expanscience Mustela Sunscreen Baby Cosmetics Locion 50+ 100Ml</c:v>
                </c:pt>
                <c:pt idx="7">
                  <c:v>Others Fabricante Unif. Others Marca Unif. Sunscreen Adults Cosmetics Locion 50+ 35Ml</c:v>
                </c:pt>
                <c:pt idx="8">
                  <c:v>Others Fabricante Unif. Others Marca Unif. Sunscreen Adults Cosmetics Locion 50 100Ml</c:v>
                </c:pt>
                <c:pt idx="9">
                  <c:v>Others Fabricante Unif. Others Marca Unif. Sunscreen Kids Cosmetics Locion 50+ 177Ml</c:v>
                </c:pt>
                <c:pt idx="10">
                  <c:v>Others Fabricante Unif. Others Marca Unif. Sunscreen Baby Cosmetics Locion 50+ 100Ml</c:v>
                </c:pt>
                <c:pt idx="11">
                  <c:v>Others Fabricante Unif. Others Marca Unif. Sunscreen Kids Cosmetics Spray Locion 30 - 49 200Ml</c:v>
                </c:pt>
              </c:strCache>
            </c:strRef>
          </c:cat>
          <c:val>
            <c:numRef>
              <c:f>Sheet1!$B$2:$B$13</c:f>
              <c:numCache>
                <c:formatCode>General</c:formatCode>
                <c:ptCount val="12"/>
                <c:pt idx="0">
                  <c:v>269.13</c:v>
                </c:pt>
                <c:pt idx="1">
                  <c:v>355.95</c:v>
                </c:pt>
                <c:pt idx="2">
                  <c:v>336.9</c:v>
                </c:pt>
                <c:pt idx="3">
                  <c:v>330.14</c:v>
                </c:pt>
                <c:pt idx="4">
                  <c:v>289.14</c:v>
                </c:pt>
                <c:pt idx="5">
                  <c:v>417.81</c:v>
                </c:pt>
                <c:pt idx="6">
                  <c:v>457.6</c:v>
                </c:pt>
                <c:pt idx="7">
                  <c:v>49.4</c:v>
                </c:pt>
                <c:pt idx="8">
                  <c:v>204.11</c:v>
                </c:pt>
                <c:pt idx="9">
                  <c:v>367.0</c:v>
                </c:pt>
                <c:pt idx="10">
                  <c:v>241.54</c:v>
                </c:pt>
                <c:pt idx="11">
                  <c:v>354.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6.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22</a:t>
                    </a:r>
                  </a:p>
                </c:rich>
              </c:tx>
              <c:showLegendKey val="0"/>
              <c:showVal val="1"/>
              <c:showCatName val="0"/>
              <c:showSerName val="0"/>
              <c:showPercent val="0"/>
              <c:showBubbleSize val="0"/>
            </c:dLbl>
            <c:dLbl>
              <c:idx val="1"/>
              <c:tx>
                <c:rich>
                  <a:bodyPr/>
                  <a:lstStyle/>
                  <a:p>
                    <a:r>
                      <a:t>244.93</a:t>
                    </a:r>
                  </a:p>
                </c:rich>
              </c:tx>
              <c:showLegendKey val="0"/>
              <c:showVal val="1"/>
              <c:showCatName val="0"/>
              <c:showSerName val="0"/>
              <c:showPercent val="0"/>
              <c:showBubbleSize val="0"/>
            </c:dLbl>
            <c:dLbl>
              <c:idx val="2"/>
              <c:tx>
                <c:rich>
                  <a:bodyPr/>
                  <a:lstStyle/>
                  <a:p>
                    <a:r>
                      <a:t>380.56</a:t>
                    </a:r>
                  </a:p>
                </c:rich>
              </c:tx>
              <c:showLegendKey val="0"/>
              <c:showVal val="1"/>
              <c:showCatName val="0"/>
              <c:showSerName val="0"/>
              <c:showPercent val="0"/>
              <c:showBubbleSize val="0"/>
            </c:dLbl>
            <c:dLbl>
              <c:idx val="3"/>
              <c:tx>
                <c:rich>
                  <a:bodyPr/>
                  <a:lstStyle/>
                  <a:p>
                    <a:r>
                      <a:t>350.53</a:t>
                    </a:r>
                  </a:p>
                </c:rich>
              </c:tx>
              <c:showLegendKey val="0"/>
              <c:showVal val="1"/>
              <c:showCatName val="0"/>
              <c:showSerName val="0"/>
              <c:showPercent val="0"/>
              <c:showBubbleSize val="0"/>
            </c:dLbl>
            <c:dLbl>
              <c:idx val="4"/>
              <c:tx>
                <c:rich>
                  <a:bodyPr/>
                  <a:lstStyle/>
                  <a:p>
                    <a:r>
                      <a:t>303.92</a:t>
                    </a:r>
                  </a:p>
                </c:rich>
              </c:tx>
              <c:showLegendKey val="0"/>
              <c:showVal val="1"/>
              <c:showCatName val="0"/>
              <c:showSerName val="0"/>
              <c:showPercent val="0"/>
              <c:showBubbleSize val="0"/>
            </c:dLbl>
            <c:dLbl>
              <c:idx val="5"/>
              <c:tx>
                <c:rich>
                  <a:bodyPr/>
                  <a:lstStyle/>
                  <a:p>
                    <a:r>
                      <a:t>398.0</a:t>
                    </a:r>
                  </a:p>
                </c:rich>
              </c:tx>
              <c:showLegendKey val="0"/>
              <c:showVal val="1"/>
              <c:showCatName val="0"/>
              <c:showSerName val="0"/>
              <c:showPercent val="0"/>
              <c:showBubbleSize val="0"/>
            </c:dLbl>
            <c:dLbl>
              <c:idx val="6"/>
              <c:tx>
                <c:rich>
                  <a:bodyPr/>
                  <a:lstStyle/>
                  <a:p>
                    <a:r>
                      <a:t>357.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Australian Gold Australian Gold Sunscreen Adults Cosmetics Spray 15 - 19 170Ml</c:v>
                </c:pt>
                <c:pt idx="4">
                  <c:v>Sun &amp; Skin Care Research Ocean Potion Sunscreen Adults Cosmetics Spray 30 - 49 156Ml</c:v>
                </c:pt>
                <c:pt idx="5">
                  <c:v>Sun &amp; Skin Care Research Ocean Potion Sunscreen Adults Cosmetics Spray 50+ 156Ml</c:v>
                </c:pt>
                <c:pt idx="6">
                  <c:v>Australian Gold Australian Gold Sunscreen Kids Cosmetics Spray 50 170Ml</c:v>
                </c:pt>
                <c:pt idx="7">
                  <c:v>Sun &amp; Skin Care Research Ocean Potion Sunscreen Adults Cosmetics Spray 50 156Ml</c:v>
                </c:pt>
                <c:pt idx="8">
                  <c:v>Sun &amp; Skin Care Research Ocean Potion Sunscreen Kids Cosmetics Spray 50 156Ml</c:v>
                </c:pt>
              </c:strCache>
            </c:strRef>
          </c:cat>
          <c:val>
            <c:numRef>
              <c:f>Sheet1!$B$2:$B$10</c:f>
              <c:numCache>
                <c:formatCode>General</c:formatCode>
                <c:ptCount val="9"/>
                <c:pt idx="0">
                  <c:v>309.22</c:v>
                </c:pt>
                <c:pt idx="1">
                  <c:v>244.93</c:v>
                </c:pt>
                <c:pt idx="2">
                  <c:v>380.56</c:v>
                </c:pt>
                <c:pt idx="3">
                  <c:v>350.53</c:v>
                </c:pt>
                <c:pt idx="4">
                  <c:v>303.92</c:v>
                </c:pt>
                <c:pt idx="5">
                  <c:v>398.0</c:v>
                </c:pt>
                <c:pt idx="6">
                  <c:v>357.0</c:v>
                </c:pt>
                <c:pt idx="7">
                  <c:v>310.0</c:v>
                </c:pt>
                <c:pt idx="8">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11.72</a:t>
                    </a:r>
                  </a:p>
                </c:rich>
              </c:tx>
              <c:showLegendKey val="0"/>
              <c:showVal val="1"/>
              <c:showCatName val="0"/>
              <c:showSerName val="0"/>
              <c:showPercent val="0"/>
              <c:showBubbleSize val="0"/>
            </c:dLbl>
            <c:dLbl>
              <c:idx val="2"/>
              <c:tx>
                <c:rich>
                  <a:bodyPr/>
                  <a:lstStyle/>
                  <a:p>
                    <a:r>
                      <a:t>94.87</a:t>
                    </a:r>
                  </a:p>
                </c:rich>
              </c:tx>
              <c:showLegendKey val="0"/>
              <c:showVal val="1"/>
              <c:showCatName val="0"/>
              <c:showSerName val="0"/>
              <c:showPercent val="0"/>
              <c:showBubbleSize val="0"/>
            </c:dLbl>
            <c:dLbl>
              <c:idx val="3"/>
              <c:tx>
                <c:rich>
                  <a:bodyPr/>
                  <a:lstStyle/>
                  <a:p>
                    <a:r>
                      <a:t>81.74</a:t>
                    </a:r>
                  </a:p>
                </c:rich>
              </c:tx>
              <c:showLegendKey val="0"/>
              <c:showVal val="1"/>
              <c:showCatName val="0"/>
              <c:showSerName val="0"/>
              <c:showPercent val="0"/>
              <c:showBubbleSize val="0"/>
            </c:dLbl>
            <c:dLbl>
              <c:idx val="4"/>
              <c:tx>
                <c:rich>
                  <a:bodyPr/>
                  <a:lstStyle/>
                  <a:p>
                    <a:r>
                      <a:t>369.83</a:t>
                    </a:r>
                  </a:p>
                </c:rich>
              </c:tx>
              <c:showLegendKey val="0"/>
              <c:showVal val="1"/>
              <c:showCatName val="0"/>
              <c:showSerName val="0"/>
              <c:showPercent val="0"/>
              <c:showBubbleSize val="0"/>
            </c:dLbl>
            <c:dLbl>
              <c:idx val="5"/>
              <c:tx>
                <c:rich>
                  <a:bodyPr/>
                  <a:lstStyle/>
                  <a:p>
                    <a:r>
                      <a:t>8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Others Fabricante Unif. Others Marca Unif. Sunscreen Adults Sport Crema 50 177Ml</c:v>
                </c:pt>
                <c:pt idx="5">
                  <c:v>Others Fabricante Unif. Others Marca Unif. Sunscreen Adults Sport Crema 50+ 150Ml</c:v>
                </c:pt>
              </c:strCache>
            </c:strRef>
          </c:cat>
          <c:val>
            <c:numRef>
              <c:f>Sheet1!$B$2:$B$7</c:f>
              <c:numCache>
                <c:formatCode>General</c:formatCode>
                <c:ptCount val="6"/>
                <c:pt idx="0">
                  <c:v>303.99</c:v>
                </c:pt>
                <c:pt idx="1">
                  <c:v>311.72</c:v>
                </c:pt>
                <c:pt idx="2">
                  <c:v>94.87</c:v>
                </c:pt>
                <c:pt idx="3">
                  <c:v>81.74</c:v>
                </c:pt>
                <c:pt idx="4">
                  <c:v>369.83</c:v>
                </c:pt>
                <c:pt idx="5">
                  <c:v>8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dLblPos val="t"/>
              <c:showLegendKey val="0"/>
              <c:showVal val="1"/>
              <c:showCatName val="0"/>
              <c:showSerName val="0"/>
              <c:showPercent val="0"/>
              <c:showBubbleSize val="0"/>
            </c:dLbl>
            <c:dLbl>
              <c:idx val="1"/>
              <c:tx>
                <c:rich>
                  <a:bodyPr/>
                  <a:lstStyle/>
                  <a:p>
                    <a:r>
                      <a:t>280.19</a:t>
                    </a:r>
                  </a:p>
                </c:rich>
              </c:tx>
              <c:dLblPos val="t"/>
              <c:showLegendKey val="0"/>
              <c:showVal val="1"/>
              <c:showCatName val="0"/>
              <c:showSerName val="0"/>
              <c:showPercent val="0"/>
              <c:showBubbleSize val="0"/>
            </c:dLbl>
            <c:dLbl>
              <c:idx val="2"/>
              <c:tx>
                <c:rich>
                  <a:bodyPr/>
                  <a:lstStyle/>
                  <a:p>
                    <a:r>
                      <a:t>230.57</a:t>
                    </a:r>
                  </a:p>
                </c:rich>
              </c:tx>
              <c:dLblPos val="t"/>
              <c:showLegendKey val="0"/>
              <c:showVal val="1"/>
              <c:showCatName val="0"/>
              <c:showSerName val="0"/>
              <c:showPercent val="0"/>
              <c:showBubbleSize val="0"/>
            </c:dLbl>
            <c:dLbl>
              <c:idx val="3"/>
              <c:tx>
                <c:rich>
                  <a:bodyPr/>
                  <a:lstStyle/>
                  <a:p>
                    <a:r>
                      <a:t>23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2.81</c:v>
                </c:pt>
                <c:pt idx="1">
                  <c:v>280.19</c:v>
                </c:pt>
                <c:pt idx="2">
                  <c:v>230.57</c:v>
                </c:pt>
                <c:pt idx="3">
                  <c:v>23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69</a:t>
                    </a:r>
                  </a:p>
                </c:rich>
              </c:tx>
              <c:showLegendKey val="0"/>
              <c:showVal val="1"/>
              <c:showCatName val="0"/>
              <c:showSerName val="0"/>
              <c:showPercent val="0"/>
              <c:showBubbleSize val="0"/>
            </c:dLbl>
            <c:dLbl>
              <c:idx val="1"/>
              <c:tx>
                <c:rich>
                  <a:bodyPr/>
                  <a:lstStyle/>
                  <a:p>
                    <a:r>
                      <a:t>316.05</a:t>
                    </a:r>
                  </a:p>
                </c:rich>
              </c:tx>
              <c:showLegendKey val="0"/>
              <c:showVal val="1"/>
              <c:showCatName val="0"/>
              <c:showSerName val="0"/>
              <c:showPercent val="0"/>
              <c:showBubbleSize val="0"/>
            </c:dLbl>
            <c:dLbl>
              <c:idx val="2"/>
              <c:tx>
                <c:rich>
                  <a:bodyPr/>
                  <a:lstStyle/>
                  <a:p>
                    <a:r>
                      <a:t>334.03</a:t>
                    </a:r>
                  </a:p>
                </c:rich>
              </c:tx>
              <c:showLegendKey val="0"/>
              <c:showVal val="1"/>
              <c:showCatName val="0"/>
              <c:showSerName val="0"/>
              <c:showPercent val="0"/>
              <c:showBubbleSize val="0"/>
            </c:dLbl>
            <c:dLbl>
              <c:idx val="3"/>
              <c:tx>
                <c:rich>
                  <a:bodyPr/>
                  <a:lstStyle/>
                  <a:p>
                    <a:r>
                      <a:t>88.11</a:t>
                    </a:r>
                  </a:p>
                </c:rich>
              </c:tx>
              <c:showLegendKey val="0"/>
              <c:showVal val="1"/>
              <c:showCatName val="0"/>
              <c:showSerName val="0"/>
              <c:showPercent val="0"/>
              <c:showBubbleSize val="0"/>
            </c:dLbl>
            <c:dLbl>
              <c:idx val="4"/>
              <c:tx>
                <c:rich>
                  <a:bodyPr/>
                  <a:lstStyle/>
                  <a:p>
                    <a:r>
                      <a:t>288.77</a:t>
                    </a:r>
                  </a:p>
                </c:rich>
              </c:tx>
              <c:showLegendKey val="0"/>
              <c:showVal val="1"/>
              <c:showCatName val="0"/>
              <c:showSerName val="0"/>
              <c:showPercent val="0"/>
              <c:showBubbleSize val="0"/>
            </c:dLbl>
            <c:dLbl>
              <c:idx val="5"/>
              <c:tx>
                <c:rich>
                  <a:bodyPr/>
                  <a:lstStyle/>
                  <a:p>
                    <a:r>
                      <a:t>2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240Ml</c:v>
                </c:pt>
                <c:pt idx="1">
                  <c:v>Edgewell Banana Boat Dry Balance Sunscreen Adults Sport Spray Liquido 50 220Ml</c:v>
                </c:pt>
                <c:pt idx="2">
                  <c:v>Edgewell Hawaiian Tropic Island Sport Sunscreen Adults Sport Spray Liquido 50 220Ml</c:v>
                </c:pt>
                <c:pt idx="3">
                  <c:v>Edgewell Hawaiian Tropic Island Sport Sunscreen Adults Sport Liquido 50 60Ml</c:v>
                </c:pt>
                <c:pt idx="4">
                  <c:v>Edgewell Banana Boat Advanced Protection Sunscreen Adults Sport Spray Liquido 50+ 170Ml</c:v>
                </c:pt>
                <c:pt idx="5">
                  <c:v>Australian Gold Australian Gold Sunscreen Adults Sport Liquido 30 - 49 200Ml</c:v>
                </c:pt>
              </c:strCache>
            </c:strRef>
          </c:cat>
          <c:val>
            <c:numRef>
              <c:f>Sheet1!$B$2:$B$7</c:f>
              <c:numCache>
                <c:formatCode>General</c:formatCode>
                <c:ptCount val="6"/>
                <c:pt idx="0">
                  <c:v>308.69</c:v>
                </c:pt>
                <c:pt idx="1">
                  <c:v>316.05</c:v>
                </c:pt>
                <c:pt idx="2">
                  <c:v>334.03</c:v>
                </c:pt>
                <c:pt idx="3">
                  <c:v>88.11</c:v>
                </c:pt>
                <c:pt idx="4">
                  <c:v>288.77</c:v>
                </c:pt>
                <c:pt idx="5">
                  <c:v>2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13</a:t>
                    </a:r>
                  </a:p>
                </c:rich>
              </c:tx>
              <c:showLegendKey val="0"/>
              <c:showVal val="1"/>
              <c:showCatName val="0"/>
              <c:showSerName val="0"/>
              <c:showPercent val="0"/>
              <c:showBubbleSize val="0"/>
            </c:dLbl>
            <c:dLbl>
              <c:idx val="1"/>
              <c:tx>
                <c:rich>
                  <a:bodyPr/>
                  <a:lstStyle/>
                  <a:p>
                    <a:r>
                      <a:t>333.98</a:t>
                    </a:r>
                  </a:p>
                </c:rich>
              </c:tx>
              <c:showLegendKey val="0"/>
              <c:showVal val="1"/>
              <c:showCatName val="0"/>
              <c:showSerName val="0"/>
              <c:showPercent val="0"/>
              <c:showBubbleSize val="0"/>
            </c:dLbl>
            <c:dLbl>
              <c:idx val="2"/>
              <c:tx>
                <c:rich>
                  <a:bodyPr/>
                  <a:lstStyle/>
                  <a:p>
                    <a:r>
                      <a:t>88.81</a:t>
                    </a:r>
                  </a:p>
                </c:rich>
              </c:tx>
              <c:showLegendKey val="0"/>
              <c:showVal val="1"/>
              <c:showCatName val="0"/>
              <c:showSerName val="0"/>
              <c:showPercent val="0"/>
              <c:showBubbleSize val="0"/>
            </c:dLbl>
            <c:dLbl>
              <c:idx val="3"/>
              <c:tx>
                <c:rich>
                  <a:bodyPr/>
                  <a:lstStyle/>
                  <a:p>
                    <a:r>
                      <a:t>289.69</a:t>
                    </a:r>
                  </a:p>
                </c:rich>
              </c:tx>
              <c:showLegendKey val="0"/>
              <c:showVal val="1"/>
              <c:showCatName val="0"/>
              <c:showSerName val="0"/>
              <c:showPercent val="0"/>
              <c:showBubbleSize val="0"/>
            </c:dLbl>
            <c:dLbl>
              <c:idx val="4"/>
              <c:tx>
                <c:rich>
                  <a:bodyPr/>
                  <a:lstStyle/>
                  <a:p>
                    <a:r>
                      <a:t>377.47</a:t>
                    </a:r>
                  </a:p>
                </c:rich>
              </c:tx>
              <c:showLegendKey val="0"/>
              <c:showVal val="1"/>
              <c:showCatName val="0"/>
              <c:showSerName val="0"/>
              <c:showPercent val="0"/>
              <c:showBubbleSize val="0"/>
            </c:dLbl>
            <c:dLbl>
              <c:idx val="5"/>
              <c:tx>
                <c:rich>
                  <a:bodyPr/>
                  <a:lstStyle/>
                  <a:p>
                    <a:r>
                      <a:t>303.15</a:t>
                    </a:r>
                  </a:p>
                </c:rich>
              </c:tx>
              <c:showLegendKey val="0"/>
              <c:showVal val="1"/>
              <c:showCatName val="0"/>
              <c:showSerName val="0"/>
              <c:showPercent val="0"/>
              <c:showBubbleSize val="0"/>
            </c:dLbl>
            <c:dLbl>
              <c:idx val="6"/>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170Ml</c:v>
                </c:pt>
                <c:pt idx="1">
                  <c:v>Edgewell Banana Boat Mineral Sunscreen Adults Sport Locion 50 180Ml</c:v>
                </c:pt>
                <c:pt idx="2">
                  <c:v>Edgewell Banana Boat Dry Balance Sunscreen Adults Sport Locion 50+ 60Ml</c:v>
                </c:pt>
                <c:pt idx="3">
                  <c:v>Others Fabricante Unif. Others Marca Unif. Sunscreen Adults Sport Spray Locion 50 200Ml</c:v>
                </c:pt>
                <c:pt idx="4">
                  <c:v>Australian Gold Australian Gold Sunscreen Adults Sport Spray Locion 30 170Ml</c:v>
                </c:pt>
                <c:pt idx="5">
                  <c:v>Australian Gold Australian Gold Sunscreen Adults Sport Locion 30 237Ml</c:v>
                </c:pt>
                <c:pt idx="6">
                  <c:v>Others Fabricante Unif. Others Marca Unif. Sunscreen Adults Sport Spray Locion 50+ 100Ml</c:v>
                </c:pt>
              </c:strCache>
            </c:strRef>
          </c:cat>
          <c:val>
            <c:numRef>
              <c:f>Sheet1!$B$2:$B$8</c:f>
              <c:numCache>
                <c:formatCode>General</c:formatCode>
                <c:ptCount val="7"/>
                <c:pt idx="0">
                  <c:v>325.13</c:v>
                </c:pt>
                <c:pt idx="1">
                  <c:v>333.98</c:v>
                </c:pt>
                <c:pt idx="2">
                  <c:v>88.81</c:v>
                </c:pt>
                <c:pt idx="3">
                  <c:v>289.69</c:v>
                </c:pt>
                <c:pt idx="4">
                  <c:v>377.47</c:v>
                </c:pt>
                <c:pt idx="5">
                  <c:v>303.15</c:v>
                </c:pt>
                <c:pt idx="6">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2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67</a:t>
                    </a:r>
                  </a:p>
                </c:rich>
              </c:tx>
              <c:showLegendKey val="0"/>
              <c:showVal val="1"/>
              <c:showCatName val="0"/>
              <c:showSerName val="0"/>
              <c:showPercent val="0"/>
              <c:showBubbleSize val="0"/>
            </c:dLbl>
            <c:dLbl>
              <c:idx val="1"/>
              <c:tx>
                <c:rich>
                  <a:bodyPr/>
                  <a:lstStyle/>
                  <a:p>
                    <a:r>
                      <a:t>409.15</a:t>
                    </a:r>
                  </a:p>
                </c:rich>
              </c:tx>
              <c:showLegendKey val="0"/>
              <c:showVal val="1"/>
              <c:showCatName val="0"/>
              <c:showSerName val="0"/>
              <c:showPercent val="0"/>
              <c:showBubbleSize val="0"/>
            </c:dLbl>
            <c:dLbl>
              <c:idx val="2"/>
              <c:tx>
                <c:rich>
                  <a:bodyPr/>
                  <a:lstStyle/>
                  <a:p>
                    <a:r>
                      <a:t>335.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Dry Balance Sunscreen Adults Sport Spray 50+ 170Ml</c:v>
                </c:pt>
                <c:pt idx="1">
                  <c:v>Australian Gold Australian Gold Sunscreen Adults Sport Spray 50 170Ml</c:v>
                </c:pt>
                <c:pt idx="2">
                  <c:v>Sun &amp; Skin Care Research Ocean Potion Sunscreen Adults Sport Spray 50 156Ml</c:v>
                </c:pt>
              </c:strCache>
            </c:strRef>
          </c:cat>
          <c:val>
            <c:numRef>
              <c:f>Sheet1!$B$2:$B$4</c:f>
              <c:numCache>
                <c:formatCode>General</c:formatCode>
                <c:ptCount val="3"/>
                <c:pt idx="0">
                  <c:v>409.67</c:v>
                </c:pt>
                <c:pt idx="1">
                  <c:v>409.15</c:v>
                </c:pt>
                <c:pt idx="2">
                  <c:v>33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66.92</a:t>
                    </a:r>
                  </a:p>
                </c:rich>
              </c:tx>
              <c:showLegendKey val="0"/>
              <c:showVal val="1"/>
              <c:showCatName val="0"/>
              <c:showSerName val="0"/>
              <c:showPercent val="0"/>
              <c:showBubbleSize val="0"/>
            </c:dLbl>
            <c:dLbl>
              <c:idx val="2"/>
              <c:tx>
                <c:rich>
                  <a:bodyPr/>
                  <a:lstStyle/>
                  <a:p>
                    <a:r>
                      <a:t>371.44</a:t>
                    </a:r>
                  </a:p>
                </c:rich>
              </c:tx>
              <c:showLegendKey val="0"/>
              <c:showVal val="1"/>
              <c:showCatName val="0"/>
              <c:showSerName val="0"/>
              <c:showPercent val="0"/>
              <c:showBubbleSize val="0"/>
            </c:dLbl>
            <c:dLbl>
              <c:idx val="3"/>
              <c:tx>
                <c:rich>
                  <a:bodyPr/>
                  <a:lstStyle/>
                  <a:p>
                    <a:r>
                      <a:t>319.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Tanning Sunscreen Adults Cosmetics Aceite 15 - 19 240Ml</c:v>
                </c:pt>
                <c:pt idx="1">
                  <c:v>Others Fabricante Unif. Others Marca Unif. Sunscreen Adults Cosmetics Aceite 30 - 49 75Ml</c:v>
                </c:pt>
                <c:pt idx="2">
                  <c:v>Others Fabricante Unif. Others Marca Unif. Sunscreen Adults Cosmetics Spray Aceite 30 200Ml</c:v>
                </c:pt>
                <c:pt idx="3">
                  <c:v>Others Fabricante Unif. Others Marca Unif. Sunscreen Kids Cosmetics Spray Aceite 50+ 177Ml</c:v>
                </c:pt>
              </c:strCache>
            </c:strRef>
          </c:cat>
          <c:val>
            <c:numRef>
              <c:f>Sheet1!$B$2:$B$5</c:f>
              <c:numCache>
                <c:formatCode>General</c:formatCode>
                <c:ptCount val="4"/>
                <c:pt idx="0">
                  <c:v>399.0</c:v>
                </c:pt>
                <c:pt idx="1">
                  <c:v>166.92</c:v>
                </c:pt>
                <c:pt idx="2">
                  <c:v>371.44</c:v>
                </c:pt>
                <c:pt idx="3">
                  <c:v>319.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270.48</a:t>
                    </a:r>
                  </a:p>
                </c:rich>
              </c:tx>
              <c:showLegendKey val="0"/>
              <c:showVal val="1"/>
              <c:showCatName val="0"/>
              <c:showSerName val="0"/>
              <c:showPercent val="0"/>
              <c:showBubbleSize val="0"/>
            </c:dLbl>
            <c:dLbl>
              <c:idx val="2"/>
              <c:tx>
                <c:rich>
                  <a:bodyPr/>
                  <a:lstStyle/>
                  <a:p>
                    <a:r>
                      <a:t>341.27</a:t>
                    </a:r>
                  </a:p>
                </c:rich>
              </c:tx>
              <c:showLegendKey val="0"/>
              <c:showVal val="1"/>
              <c:showCatName val="0"/>
              <c:showSerName val="0"/>
              <c:showPercent val="0"/>
              <c:showBubbleSize val="0"/>
            </c:dLbl>
            <c:dLbl>
              <c:idx val="3"/>
              <c:tx>
                <c:rich>
                  <a:bodyPr/>
                  <a:lstStyle/>
                  <a:p>
                    <a:r>
                      <a:t>330.0</a:t>
                    </a:r>
                  </a:p>
                </c:rich>
              </c:tx>
              <c:showLegendKey val="0"/>
              <c:showVal val="1"/>
              <c:showCatName val="0"/>
              <c:showSerName val="0"/>
              <c:showPercent val="0"/>
              <c:showBubbleSize val="0"/>
            </c:dLbl>
            <c:dLbl>
              <c:idx val="4"/>
              <c:tx>
                <c:rich>
                  <a:bodyPr/>
                  <a:lstStyle/>
                  <a:p>
                    <a:r>
                      <a:t>302.81</a:t>
                    </a:r>
                  </a:p>
                </c:rich>
              </c:tx>
              <c:showLegendKey val="0"/>
              <c:showVal val="1"/>
              <c:showCatName val="0"/>
              <c:showSerName val="0"/>
              <c:showPercent val="0"/>
              <c:showBubbleSize val="0"/>
            </c:dLbl>
            <c:dLbl>
              <c:idx val="5"/>
              <c:tx>
                <c:rich>
                  <a:bodyPr/>
                  <a:lstStyle/>
                  <a:p>
                    <a:r>
                      <a:t>315.86</a:t>
                    </a:r>
                  </a:p>
                </c:rich>
              </c:tx>
              <c:showLegendKey val="0"/>
              <c:showVal val="1"/>
              <c:showCatName val="0"/>
              <c:showSerName val="0"/>
              <c:showPercent val="0"/>
              <c:showBubbleSize val="0"/>
            </c:dLbl>
            <c:dLbl>
              <c:idx val="6"/>
              <c:tx>
                <c:rich>
                  <a:bodyPr/>
                  <a:lstStyle/>
                  <a:p>
                    <a:r>
                      <a:t>365.11</a:t>
                    </a:r>
                  </a:p>
                </c:rich>
              </c:tx>
              <c:showLegendKey val="0"/>
              <c:showVal val="1"/>
              <c:showCatName val="0"/>
              <c:showSerName val="0"/>
              <c:showPercent val="0"/>
              <c:showBubbleSize val="0"/>
            </c:dLbl>
            <c:dLbl>
              <c:idx val="7"/>
              <c:tx>
                <c:rich>
                  <a:bodyPr/>
                  <a:lstStyle/>
                  <a:p>
                    <a:r>
                      <a:t>308.98</a:t>
                    </a:r>
                  </a:p>
                </c:rich>
              </c:tx>
              <c:showLegendKey val="0"/>
              <c:showVal val="1"/>
              <c:showCatName val="0"/>
              <c:showSerName val="0"/>
              <c:showPercent val="0"/>
              <c:showBubbleSize val="0"/>
            </c:dLbl>
            <c:dLbl>
              <c:idx val="8"/>
              <c:tx>
                <c:rich>
                  <a:bodyPr/>
                  <a:lstStyle/>
                  <a:p>
                    <a:r>
                      <a:t>327.02</a:t>
                    </a:r>
                  </a:p>
                </c:rich>
              </c:tx>
              <c:showLegendKey val="0"/>
              <c:showVal val="1"/>
              <c:showCatName val="0"/>
              <c:showSerName val="0"/>
              <c:showPercent val="0"/>
              <c:showBubbleSize val="0"/>
            </c:dLbl>
            <c:dLbl>
              <c:idx val="9"/>
              <c:tx>
                <c:rich>
                  <a:bodyPr/>
                  <a:lstStyle/>
                  <a:p>
                    <a:r>
                      <a:t>411.94</a:t>
                    </a:r>
                  </a:p>
                </c:rich>
              </c:tx>
              <c:showLegendKey val="0"/>
              <c:showVal val="1"/>
              <c:showCatName val="0"/>
              <c:showSerName val="0"/>
              <c:showPercent val="0"/>
              <c:showBubbleSize val="0"/>
            </c:dLbl>
            <c:dLbl>
              <c:idx val="10"/>
              <c:tx>
                <c:rich>
                  <a:bodyPr/>
                  <a:lstStyle/>
                  <a:p>
                    <a:r>
                      <a:t>215.4</a:t>
                    </a:r>
                  </a:p>
                </c:rich>
              </c:tx>
              <c:showLegendKey val="0"/>
              <c:showVal val="1"/>
              <c:showCatName val="0"/>
              <c:showSerName val="0"/>
              <c:showPercent val="0"/>
              <c:showBubbleSize val="0"/>
            </c:dLbl>
            <c:dLbl>
              <c:idx val="11"/>
              <c:tx>
                <c:rich>
                  <a:bodyPr/>
                  <a:lstStyle/>
                  <a:p>
                    <a:r>
                      <a:t>104.31</a:t>
                    </a:r>
                  </a:p>
                </c:rich>
              </c:tx>
              <c:showLegendKey val="0"/>
              <c:showVal val="1"/>
              <c:showCatName val="0"/>
              <c:showSerName val="0"/>
              <c:showPercent val="0"/>
              <c:showBubbleSize val="0"/>
            </c:dLbl>
            <c:dLbl>
              <c:idx val="12"/>
              <c:tx>
                <c:rich>
                  <a:bodyPr/>
                  <a:lstStyle/>
                  <a:p>
                    <a:r>
                      <a:t>215.16</a:t>
                    </a:r>
                  </a:p>
                </c:rich>
              </c:tx>
              <c:showLegendKey val="0"/>
              <c:showVal val="1"/>
              <c:showCatName val="0"/>
              <c:showSerName val="0"/>
              <c:showPercent val="0"/>
              <c:showBubbleSize val="0"/>
            </c:dLbl>
            <c:dLbl>
              <c:idx val="13"/>
              <c:tx>
                <c:rich>
                  <a:bodyPr/>
                  <a:lstStyle/>
                  <a:p>
                    <a:r>
                      <a:t>338.09</a:t>
                    </a:r>
                  </a:p>
                </c:rich>
              </c:tx>
              <c:showLegendKey val="0"/>
              <c:showVal val="1"/>
              <c:showCatName val="0"/>
              <c:showSerName val="0"/>
              <c:showPercent val="0"/>
              <c:showBubbleSize val="0"/>
            </c:dLbl>
            <c:dLbl>
              <c:idx val="14"/>
              <c:tx>
                <c:rich>
                  <a:bodyPr/>
                  <a:lstStyle/>
                  <a:p>
                    <a:r>
                      <a:t>13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Dry Balance Sunscreen Adults Cosmetics Spray Crema 50+ 220Ml</c:v>
                </c:pt>
                <c:pt idx="2">
                  <c:v>Edgewell Banana Boat Aqua Protect Sunscreen Adults Cosmetics Crema 50+ 236Ml</c:v>
                </c:pt>
                <c:pt idx="3">
                  <c:v>Edgewell Banana Boat Kids Sport Sunscreen Kids Cosmetics Crema 50 180Ml</c:v>
                </c:pt>
                <c:pt idx="4">
                  <c:v>Edgewell Banana Boat Dry Balance Sunscreen Adults Cosmetics Crema 50+ 180Ml</c:v>
                </c:pt>
                <c:pt idx="5">
                  <c:v>Beiersdorf Nivea Sunscreen Adults Cosmetics Crema 50 50Ml</c:v>
                </c:pt>
                <c:pt idx="6">
                  <c:v>Beiersdorf Nivea Sunscreen Adults Cosmetics Crema 50+ 200Ml</c:v>
                </c:pt>
                <c:pt idx="7">
                  <c:v>Beiersdorf Nivea Sunscreen Adults Cosmetics Crema 50+ 40Ml</c:v>
                </c:pt>
                <c:pt idx="8">
                  <c:v>Beiersdorf Nivea Sunscreen Adults Cosmetics Crema 50+ 50Ml</c:v>
                </c:pt>
                <c:pt idx="9">
                  <c:v>Beiersdorf Nivea Sunscreen Adults Cosmetics Crema 30 - 49 200Ml</c:v>
                </c:pt>
                <c:pt idx="10">
                  <c:v>Others Fabricante Unif. Others Marca Unif. Sunscreen Adults Cosmetics Crema 50+ 200Ml</c:v>
                </c:pt>
                <c:pt idx="11">
                  <c:v>Others Fabricante Unif. Others Marca Unif. Sunscreen Adults Cosmetics Crema 50+ 90Ml</c:v>
                </c:pt>
                <c:pt idx="12">
                  <c:v>Others Fabricante Unif. Others Marca Unif. Sunscreen Kids Cosmetics Crema 50+ 200Ml</c:v>
                </c:pt>
                <c:pt idx="13">
                  <c:v>Others Fabricante Unif. Others Marca Unif. Sunscreen Adults Cosmetics Crema 50+ 50Ml</c:v>
                </c:pt>
                <c:pt idx="14">
                  <c:v>Others Fabricante Unif. Others Marca Unif. Sunscreen Adults Cosmetics Crema 50+ 125Ml</c:v>
                </c:pt>
              </c:strCache>
            </c:strRef>
          </c:cat>
          <c:val>
            <c:numRef>
              <c:f>Sheet1!$B$2:$B$16</c:f>
              <c:numCache>
                <c:formatCode>General</c:formatCode>
                <c:ptCount val="15"/>
                <c:pt idx="0">
                  <c:v>305.33</c:v>
                </c:pt>
                <c:pt idx="1">
                  <c:v>270.48</c:v>
                </c:pt>
                <c:pt idx="2">
                  <c:v>341.27</c:v>
                </c:pt>
                <c:pt idx="3">
                  <c:v>330.0</c:v>
                </c:pt>
                <c:pt idx="4">
                  <c:v>302.81</c:v>
                </c:pt>
                <c:pt idx="5">
                  <c:v>315.86</c:v>
                </c:pt>
                <c:pt idx="6">
                  <c:v>365.11</c:v>
                </c:pt>
                <c:pt idx="7">
                  <c:v>308.98</c:v>
                </c:pt>
                <c:pt idx="8">
                  <c:v>327.02</c:v>
                </c:pt>
                <c:pt idx="9">
                  <c:v>411.94</c:v>
                </c:pt>
                <c:pt idx="10">
                  <c:v>215.4</c:v>
                </c:pt>
                <c:pt idx="11">
                  <c:v>104.31</c:v>
                </c:pt>
                <c:pt idx="12">
                  <c:v>215.16</c:v>
                </c:pt>
                <c:pt idx="13">
                  <c:v>338.09</c:v>
                </c:pt>
                <c:pt idx="14">
                  <c:v>13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58</a:t>
                    </a:r>
                  </a:p>
                </c:rich>
              </c:tx>
              <c:showLegendKey val="0"/>
              <c:showVal val="1"/>
              <c:showCatName val="0"/>
              <c:showSerName val="0"/>
              <c:showPercent val="0"/>
              <c:showBubbleSize val="0"/>
            </c:dLbl>
            <c:dLbl>
              <c:idx val="1"/>
              <c:tx>
                <c:rich>
                  <a:bodyPr/>
                  <a:lstStyle/>
                  <a:p>
                    <a:r>
                      <a:t>33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dvanced Protection Sunscreen Adults Cosmetics Fluido 50+ 50Ml</c:v>
                </c:pt>
                <c:pt idx="1">
                  <c:v>Beiersdorf Nivea Sunscreen Adults Cosmetics Fluido 50+ 40Ml</c:v>
                </c:pt>
              </c:strCache>
            </c:strRef>
          </c:cat>
          <c:val>
            <c:numRef>
              <c:f>Sheet1!$B$2:$B$3</c:f>
              <c:numCache>
                <c:formatCode>General</c:formatCode>
                <c:ptCount val="2"/>
                <c:pt idx="0">
                  <c:v>322.58</c:v>
                </c:pt>
                <c:pt idx="1">
                  <c:v>33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showLegendKey val="0"/>
              <c:showVal val="1"/>
              <c:showCatName val="0"/>
              <c:showSerName val="0"/>
              <c:showPercent val="0"/>
              <c:showBubbleSize val="0"/>
            </c:dLbl>
            <c:dLbl>
              <c:idx val="1"/>
              <c:tx>
                <c:rich>
                  <a:bodyPr/>
                  <a:lstStyle/>
                  <a:p>
                    <a:r>
                      <a:t>339.06</a:t>
                    </a:r>
                  </a:p>
                </c:rich>
              </c:tx>
              <c:showLegendKey val="0"/>
              <c:showVal val="1"/>
              <c:showCatName val="0"/>
              <c:showSerName val="0"/>
              <c:showPercent val="0"/>
              <c:showBubbleSize val="0"/>
            </c:dLbl>
            <c:dLbl>
              <c:idx val="2"/>
              <c:tx>
                <c:rich>
                  <a:bodyPr/>
                  <a:lstStyle/>
                  <a:p>
                    <a:r>
                      <a:t>330.54</a:t>
                    </a:r>
                  </a:p>
                </c:rich>
              </c:tx>
              <c:showLegendKey val="0"/>
              <c:showVal val="1"/>
              <c:showCatName val="0"/>
              <c:showSerName val="0"/>
              <c:showPercent val="0"/>
              <c:showBubbleSize val="0"/>
            </c:dLbl>
            <c:dLbl>
              <c:idx val="3"/>
              <c:tx>
                <c:rich>
                  <a:bodyPr/>
                  <a:lstStyle/>
                  <a:p>
                    <a:r>
                      <a:t>91.75</a:t>
                    </a:r>
                  </a:p>
                </c:rich>
              </c:tx>
              <c:showLegendKey val="0"/>
              <c:showVal val="1"/>
              <c:showCatName val="0"/>
              <c:showSerName val="0"/>
              <c:showPercent val="0"/>
              <c:showBubbleSize val="0"/>
            </c:dLbl>
            <c:dLbl>
              <c:idx val="4"/>
              <c:tx>
                <c:rich>
                  <a:bodyPr/>
                  <a:lstStyle/>
                  <a:p>
                    <a:r>
                      <a:t>325.31</a:t>
                    </a:r>
                  </a:p>
                </c:rich>
              </c:tx>
              <c:showLegendKey val="0"/>
              <c:showVal val="1"/>
              <c:showCatName val="0"/>
              <c:showSerName val="0"/>
              <c:showPercent val="0"/>
              <c:showBubbleSize val="0"/>
            </c:dLbl>
            <c:dLbl>
              <c:idx val="5"/>
              <c:tx>
                <c:rich>
                  <a:bodyPr/>
                  <a:lstStyle/>
                  <a:p>
                    <a:r>
                      <a:t>350.73</a:t>
                    </a:r>
                  </a:p>
                </c:rich>
              </c:tx>
              <c:showLegendKey val="0"/>
              <c:showVal val="1"/>
              <c:showCatName val="0"/>
              <c:showSerName val="0"/>
              <c:showPercent val="0"/>
              <c:showBubbleSize val="0"/>
            </c:dLbl>
            <c:dLbl>
              <c:idx val="6"/>
              <c:tx>
                <c:rich>
                  <a:bodyPr/>
                  <a:lstStyle/>
                  <a:p>
                    <a:r>
                      <a:t>188.74</a:t>
                    </a:r>
                  </a:p>
                </c:rich>
              </c:tx>
              <c:showLegendKey val="0"/>
              <c:showVal val="1"/>
              <c:showCatName val="0"/>
              <c:showSerName val="0"/>
              <c:showPercent val="0"/>
              <c:showBubbleSize val="0"/>
            </c:dLbl>
            <c:dLbl>
              <c:idx val="7"/>
              <c:tx>
                <c:rich>
                  <a:bodyPr/>
                  <a:lstStyle/>
                  <a:p>
                    <a:r>
                      <a:t>342.7</a:t>
                    </a:r>
                  </a:p>
                </c:rich>
              </c:tx>
              <c:showLegendKey val="0"/>
              <c:showVal val="1"/>
              <c:showCatName val="0"/>
              <c:showSerName val="0"/>
              <c:showPercent val="0"/>
              <c:showBubbleSize val="0"/>
            </c:dLbl>
            <c:dLbl>
              <c:idx val="8"/>
              <c:tx>
                <c:rich>
                  <a:bodyPr/>
                  <a:lstStyle/>
                  <a:p>
                    <a:r>
                      <a:t>401.63</a:t>
                    </a:r>
                  </a:p>
                </c:rich>
              </c:tx>
              <c:showLegendKey val="0"/>
              <c:showVal val="1"/>
              <c:showCatName val="0"/>
              <c:showSerName val="0"/>
              <c:showPercent val="0"/>
              <c:showBubbleSize val="0"/>
            </c:dLbl>
            <c:dLbl>
              <c:idx val="9"/>
              <c:tx>
                <c:rich>
                  <a:bodyPr/>
                  <a:lstStyle/>
                  <a:p>
                    <a:r>
                      <a:t>168.48</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6.15</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Liquido 50+ 240Ml</c:v>
                </c:pt>
                <c:pt idx="1">
                  <c:v>Edgewell Banana Boat Aqua Protect Sunscreen Adults Cosmetics Spray Liquido 50+ 170Ml</c:v>
                </c:pt>
                <c:pt idx="2">
                  <c:v>Edgewell Banana Boat Advanced Protection Sunscreen Adults Cosmetics Liquido 50+ 240Ml</c:v>
                </c:pt>
                <c:pt idx="3">
                  <c:v>Edgewell Banana Boat Advanced Protection Sunscreen Adults Cosmetics Liquido 50+ 60Ml</c:v>
                </c:pt>
                <c:pt idx="4">
                  <c:v>Edgewell Hawaiian Tropic Ozono Sunscreen Adults Cosmetics Spray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Spray Liquido 50 200Ml</c:v>
                </c:pt>
                <c:pt idx="9">
                  <c:v>Beiersdorf Nivea Sunscreen Kids Cosmetics Liquido 50+ 125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strCache>
            </c:strRef>
          </c:cat>
          <c:val>
            <c:numRef>
              <c:f>Sheet1!$B$2:$B$15</c:f>
              <c:numCache>
                <c:formatCode>General</c:formatCode>
                <c:ptCount val="14"/>
                <c:pt idx="0">
                  <c:v>318.53</c:v>
                </c:pt>
                <c:pt idx="1">
                  <c:v>339.06</c:v>
                </c:pt>
                <c:pt idx="2">
                  <c:v>330.54</c:v>
                </c:pt>
                <c:pt idx="3">
                  <c:v>91.75</c:v>
                </c:pt>
                <c:pt idx="4">
                  <c:v>325.31</c:v>
                </c:pt>
                <c:pt idx="5">
                  <c:v>350.73</c:v>
                </c:pt>
                <c:pt idx="6">
                  <c:v>188.74</c:v>
                </c:pt>
                <c:pt idx="7">
                  <c:v>342.7</c:v>
                </c:pt>
                <c:pt idx="8">
                  <c:v>401.63</c:v>
                </c:pt>
                <c:pt idx="9">
                  <c:v>168.48</c:v>
                </c:pt>
                <c:pt idx="10">
                  <c:v>1206.0</c:v>
                </c:pt>
                <c:pt idx="11">
                  <c:v>286.15</c:v>
                </c:pt>
                <c:pt idx="12">
                  <c:v>739.0</c:v>
                </c:pt>
                <c:pt idx="13">
                  <c:v>25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99</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361.98</a:t>
                    </a:r>
                  </a:p>
                </c:rich>
              </c:tx>
              <c:showLegendKey val="0"/>
              <c:showVal val="1"/>
              <c:showCatName val="0"/>
              <c:showSerName val="0"/>
              <c:showPercent val="0"/>
              <c:showBubbleSize val="0"/>
            </c:dLbl>
            <c:dLbl>
              <c:idx val="3"/>
              <c:tx>
                <c:rich>
                  <a:bodyPr/>
                  <a:lstStyle/>
                  <a:p>
                    <a:r>
                      <a:t>373.77</a:t>
                    </a:r>
                  </a:p>
                </c:rich>
              </c:tx>
              <c:showLegendKey val="0"/>
              <c:showVal val="1"/>
              <c:showCatName val="0"/>
              <c:showSerName val="0"/>
              <c:showPercent val="0"/>
              <c:showBubbleSize val="0"/>
            </c:dLbl>
            <c:dLbl>
              <c:idx val="4"/>
              <c:tx>
                <c:rich>
                  <a:bodyPr/>
                  <a:lstStyle/>
                  <a:p>
                    <a:r>
                      <a:t>225.69</a:t>
                    </a:r>
                  </a:p>
                </c:rich>
              </c:tx>
              <c:showLegendKey val="0"/>
              <c:showVal val="1"/>
              <c:showCatName val="0"/>
              <c:showSerName val="0"/>
              <c:showPercent val="0"/>
              <c:showBubbleSize val="0"/>
            </c:dLbl>
            <c:dLbl>
              <c:idx val="5"/>
              <c:tx>
                <c:rich>
                  <a:bodyPr/>
                  <a:lstStyle/>
                  <a:p>
                    <a:r>
                      <a:t>420.6</a:t>
                    </a:r>
                  </a:p>
                </c:rich>
              </c:tx>
              <c:showLegendKey val="0"/>
              <c:showVal val="1"/>
              <c:showCatName val="0"/>
              <c:showSerName val="0"/>
              <c:showPercent val="0"/>
              <c:showBubbleSize val="0"/>
            </c:dLbl>
            <c:dLbl>
              <c:idx val="6"/>
              <c:tx>
                <c:rich>
                  <a:bodyPr/>
                  <a:lstStyle/>
                  <a:p>
                    <a:r>
                      <a:t>49.39</a:t>
                    </a:r>
                  </a:p>
                </c:rich>
              </c:tx>
              <c:showLegendKey val="0"/>
              <c:showVal val="1"/>
              <c:showCatName val="0"/>
              <c:showSerName val="0"/>
              <c:showPercent val="0"/>
              <c:showBubbleSize val="0"/>
            </c:dLbl>
            <c:dLbl>
              <c:idx val="7"/>
              <c:tx>
                <c:rich>
                  <a:bodyPr/>
                  <a:lstStyle/>
                  <a:p>
                    <a:r>
                      <a:t>204.11</a:t>
                    </a:r>
                  </a:p>
                </c:rich>
              </c:tx>
              <c:showLegendKey val="0"/>
              <c:showVal val="1"/>
              <c:showCatName val="0"/>
              <c:showSerName val="0"/>
              <c:showPercent val="0"/>
              <c:showBubbleSize val="0"/>
            </c:dLbl>
            <c:dLbl>
              <c:idx val="8"/>
              <c:tx>
                <c:rich>
                  <a:bodyPr/>
                  <a:lstStyle/>
                  <a:p>
                    <a:r>
                      <a:t>384.0</a:t>
                    </a:r>
                  </a:p>
                </c:rich>
              </c:tx>
              <c:showLegendKey val="0"/>
              <c:showVal val="1"/>
              <c:showCatName val="0"/>
              <c:showSerName val="0"/>
              <c:showPercent val="0"/>
              <c:showBubbleSize val="0"/>
            </c:dLbl>
            <c:dLbl>
              <c:idx val="9"/>
              <c:tx>
                <c:rich>
                  <a:bodyPr/>
                  <a:lstStyle/>
                  <a:p>
                    <a:r>
                      <a:t>367.0</a:t>
                    </a:r>
                  </a:p>
                </c:rich>
              </c:tx>
              <c:showLegendKey val="0"/>
              <c:showVal val="1"/>
              <c:showCatName val="0"/>
              <c:showSerName val="0"/>
              <c:showPercent val="0"/>
              <c:showBubbleSize val="0"/>
            </c:dLbl>
            <c:dLbl>
              <c:idx val="10"/>
              <c:tx>
                <c:rich>
                  <a:bodyPr/>
                  <a:lstStyle/>
                  <a:p>
                    <a:r>
                      <a:t>354.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Mineral Sunscreen Kids Cosmetics Locion 50 180Ml</c:v>
                </c:pt>
                <c:pt idx="1">
                  <c:v>Edgewell Banana Boat Banded Pack Banded Pack 2X Sunscreen Multi 50+ 170Ml</c:v>
                </c:pt>
                <c:pt idx="2">
                  <c:v>Edgewell Banana Boat Mineral Sunscreen Adults Cosmetics Locion 50 180Ml</c:v>
                </c:pt>
                <c:pt idx="3">
                  <c:v>Edgewell Banana Boat Banded Pack Banded Pack 2X Sunscreen Multi 50+ 236Ml</c:v>
                </c:pt>
                <c:pt idx="4">
                  <c:v>Edgewell Banana Boat Gentle Protect Sunscreen Adults Cosmetics Locion 50 180Ml</c:v>
                </c:pt>
                <c:pt idx="5">
                  <c:v>Labs. Expanscience Mustela Sunscreen Kids Cosmetics Locion 50+ 40Ml</c:v>
                </c:pt>
                <c:pt idx="6">
                  <c:v>Others Fabricante Unif. Others Marca Unif. Sunscreen Adults Cosmetics Locion 50+ 35Ml</c:v>
                </c:pt>
                <c:pt idx="7">
                  <c:v>Others Fabricante Unif. Others Marca Unif. Sunscreen Adults Cosmetics Locion 50 100Ml</c:v>
                </c:pt>
                <c:pt idx="8">
                  <c:v>Labs. Expanscience Mustela Sunscreen Baby Cosmetics Locion 50+ 100Ml</c:v>
                </c:pt>
                <c:pt idx="9">
                  <c:v>Others Fabricante Unif. Others Marca Unif. Sunscreen Kids Cosmetics Locion 50+ 177Ml</c:v>
                </c:pt>
                <c:pt idx="10">
                  <c:v>Others Fabricante Unif. Others Marca Unif. Sunscreen Kids Cosmetics Spray Locion 30 - 49 200Ml</c:v>
                </c:pt>
              </c:strCache>
            </c:strRef>
          </c:cat>
          <c:val>
            <c:numRef>
              <c:f>Sheet1!$B$2:$B$12</c:f>
              <c:numCache>
                <c:formatCode>General</c:formatCode>
                <c:ptCount val="11"/>
                <c:pt idx="0">
                  <c:v>359.99</c:v>
                </c:pt>
                <c:pt idx="1">
                  <c:v>413.7</c:v>
                </c:pt>
                <c:pt idx="2">
                  <c:v>361.98</c:v>
                </c:pt>
                <c:pt idx="3">
                  <c:v>373.77</c:v>
                </c:pt>
                <c:pt idx="4">
                  <c:v>225.69</c:v>
                </c:pt>
                <c:pt idx="5">
                  <c:v>420.6</c:v>
                </c:pt>
                <c:pt idx="6">
                  <c:v>49.39</c:v>
                </c:pt>
                <c:pt idx="7">
                  <c:v>204.11</c:v>
                </c:pt>
                <c:pt idx="8">
                  <c:v>384.0</c:v>
                </c:pt>
                <c:pt idx="9">
                  <c:v>367.0</c:v>
                </c:pt>
                <c:pt idx="10">
                  <c:v>354.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359.59</a:t>
                    </a:r>
                  </a:p>
                </c:rich>
              </c:tx>
              <c:showLegendKey val="0"/>
              <c:showVal val="1"/>
              <c:showCatName val="0"/>
              <c:showSerName val="0"/>
              <c:showPercent val="0"/>
              <c:showBubbleSize val="0"/>
            </c:dLbl>
            <c:dLbl>
              <c:idx val="2"/>
              <c:tx>
                <c:rich>
                  <a:bodyPr/>
                  <a:lstStyle/>
                  <a:p>
                    <a:r>
                      <a:t>36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Crema 50+ 180Ml</c:v>
                </c:pt>
                <c:pt idx="2">
                  <c:v>Others Fabricante Unif. Others Marca Unif. Sunscreen Adults Sport Crema 50 177Ml</c:v>
                </c:pt>
              </c:strCache>
            </c:strRef>
          </c:cat>
          <c:val>
            <c:numRef>
              <c:f>Sheet1!$B$2:$B$4</c:f>
              <c:numCache>
                <c:formatCode>General</c:formatCode>
                <c:ptCount val="3"/>
                <c:pt idx="0">
                  <c:v>348.86</c:v>
                </c:pt>
                <c:pt idx="1">
                  <c:v>359.59</c:v>
                </c:pt>
                <c:pt idx="2">
                  <c:v>36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dLblPos val="t"/>
              <c:showLegendKey val="0"/>
              <c:showVal val="1"/>
              <c:showCatName val="0"/>
              <c:showSerName val="0"/>
              <c:showPercent val="0"/>
              <c:showBubbleSize val="0"/>
            </c:dLbl>
            <c:dLbl>
              <c:idx val="1"/>
              <c:tx>
                <c:rich>
                  <a:bodyPr/>
                  <a:lstStyle/>
                  <a:p>
                    <a:r>
                      <a:t>282.37</a:t>
                    </a:r>
                  </a:p>
                </c:rich>
              </c:tx>
              <c:dLblPos val="t"/>
              <c:showLegendKey val="0"/>
              <c:showVal val="1"/>
              <c:showCatName val="0"/>
              <c:showSerName val="0"/>
              <c:showPercent val="0"/>
              <c:showBubbleSize val="0"/>
            </c:dLbl>
            <c:dLbl>
              <c:idx val="2"/>
              <c:tx>
                <c:rich>
                  <a:bodyPr/>
                  <a:lstStyle/>
                  <a:p>
                    <a:r>
                      <a:t>258.13</a:t>
                    </a:r>
                  </a:p>
                </c:rich>
              </c:tx>
              <c:dLblPos val="t"/>
              <c:showLegendKey val="0"/>
              <c:showVal val="1"/>
              <c:showCatName val="0"/>
              <c:showSerName val="0"/>
              <c:showPercent val="0"/>
              <c:showBubbleSize val="0"/>
            </c:dLbl>
            <c:dLbl>
              <c:idx val="3"/>
              <c:tx>
                <c:rich>
                  <a:bodyPr/>
                  <a:lstStyle/>
                  <a:p>
                    <a:r>
                      <a:t>242.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3</c:v>
                </c:pt>
                <c:pt idx="1">
                  <c:v>282.37</c:v>
                </c:pt>
                <c:pt idx="2">
                  <c:v>258.13</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7.12</a:t>
                    </a:r>
                  </a:p>
                </c:rich>
              </c:tx>
              <c:showLegendKey val="0"/>
              <c:showVal val="1"/>
              <c:showCatName val="0"/>
              <c:showSerName val="0"/>
              <c:showPercent val="0"/>
              <c:showBubbleSize val="0"/>
            </c:dLbl>
            <c:dLbl>
              <c:idx val="1"/>
              <c:tx>
                <c:rich>
                  <a:bodyPr/>
                  <a:lstStyle/>
                  <a:p>
                    <a:r>
                      <a:t>330.0</a:t>
                    </a:r>
                  </a:p>
                </c:rich>
              </c:tx>
              <c:showLegendKey val="0"/>
              <c:showVal val="1"/>
              <c:showCatName val="0"/>
              <c:showSerName val="0"/>
              <c:showPercent val="0"/>
              <c:showBubbleSize val="0"/>
            </c:dLbl>
            <c:dLbl>
              <c:idx val="2"/>
              <c:tx>
                <c:rich>
                  <a:bodyPr/>
                  <a:lstStyle/>
                  <a:p>
                    <a:r>
                      <a:t>329.19</a:t>
                    </a:r>
                  </a:p>
                </c:rich>
              </c:tx>
              <c:showLegendKey val="0"/>
              <c:showVal val="1"/>
              <c:showCatName val="0"/>
              <c:showSerName val="0"/>
              <c:showPercent val="0"/>
              <c:showBubbleSize val="0"/>
            </c:dLbl>
            <c:dLbl>
              <c:idx val="3"/>
              <c:tx>
                <c:rich>
                  <a:bodyPr/>
                  <a:lstStyle/>
                  <a:p>
                    <a:r>
                      <a:t>80.72</a:t>
                    </a:r>
                  </a:p>
                </c:rich>
              </c:tx>
              <c:showLegendKey val="0"/>
              <c:showVal val="1"/>
              <c:showCatName val="0"/>
              <c:showSerName val="0"/>
              <c:showPercent val="0"/>
              <c:showBubbleSize val="0"/>
            </c:dLbl>
            <c:dLbl>
              <c:idx val="4"/>
              <c:tx>
                <c:rich>
                  <a:bodyPr/>
                  <a:lstStyle/>
                  <a:p>
                    <a:r>
                      <a:t>326.51</a:t>
                    </a:r>
                  </a:p>
                </c:rich>
              </c:tx>
              <c:showLegendKey val="0"/>
              <c:showVal val="1"/>
              <c:showCatName val="0"/>
              <c:showSerName val="0"/>
              <c:showPercent val="0"/>
              <c:showBubbleSize val="0"/>
            </c:dLbl>
            <c:dLbl>
              <c:idx val="5"/>
              <c:tx>
                <c:rich>
                  <a:bodyPr/>
                  <a:lstStyle/>
                  <a:p>
                    <a:r>
                      <a:t>24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Spray Liquido 50 220Ml</c:v>
                </c:pt>
                <c:pt idx="1">
                  <c:v>Edgewell Hawaiian Tropic Island Sport Sunscreen Adults Sport Liquido 50 240Ml</c:v>
                </c:pt>
                <c:pt idx="2">
                  <c:v>Edgewell Banana Boat Dry Balance Sunscreen Adults Sport Spray Liquido 50 220Ml</c:v>
                </c:pt>
                <c:pt idx="3">
                  <c:v>Edgewell Hawaiian Tropic Island Sport Sunscreen Adults Sport Liquido 50 60Ml</c:v>
                </c:pt>
                <c:pt idx="4">
                  <c:v>Edgewell Banana Boat Advanced Protection Sunscreen Adults Sport Spray Liquido 50+ 170Ml</c:v>
                </c:pt>
                <c:pt idx="5">
                  <c:v>Australian Gold Australian Gold Sunscreen Adults Sport Liquido 30 - 49 200Ml</c:v>
                </c:pt>
              </c:strCache>
            </c:strRef>
          </c:cat>
          <c:val>
            <c:numRef>
              <c:f>Sheet1!$B$2:$B$7</c:f>
              <c:numCache>
                <c:formatCode>General</c:formatCode>
                <c:ptCount val="6"/>
                <c:pt idx="0">
                  <c:v>347.12</c:v>
                </c:pt>
                <c:pt idx="1">
                  <c:v>330.0</c:v>
                </c:pt>
                <c:pt idx="2">
                  <c:v>329.19</c:v>
                </c:pt>
                <c:pt idx="3">
                  <c:v>80.72</c:v>
                </c:pt>
                <c:pt idx="4">
                  <c:v>326.51</c:v>
                </c:pt>
                <c:pt idx="5">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8.05</a:t>
                    </a:r>
                  </a:p>
                </c:rich>
              </c:tx>
              <c:showLegendKey val="0"/>
              <c:showVal val="1"/>
              <c:showCatName val="0"/>
              <c:showSerName val="0"/>
              <c:showPercent val="0"/>
              <c:showBubbleSize val="0"/>
            </c:dLbl>
            <c:dLbl>
              <c:idx val="1"/>
              <c:tx>
                <c:rich>
                  <a:bodyPr/>
                  <a:lstStyle/>
                  <a:p>
                    <a:r>
                      <a:t>88.14</a:t>
                    </a:r>
                  </a:p>
                </c:rich>
              </c:tx>
              <c:showLegendKey val="0"/>
              <c:showVal val="1"/>
              <c:showCatName val="0"/>
              <c:showSerName val="0"/>
              <c:showPercent val="0"/>
              <c:showBubbleSize val="0"/>
            </c:dLbl>
            <c:dLbl>
              <c:idx val="2"/>
              <c:tx>
                <c:rich>
                  <a:bodyPr/>
                  <a:lstStyle/>
                  <a:p>
                    <a:r>
                      <a:t>443.31</a:t>
                    </a:r>
                  </a:p>
                </c:rich>
              </c:tx>
              <c:showLegendKey val="0"/>
              <c:showVal val="1"/>
              <c:showCatName val="0"/>
              <c:showSerName val="0"/>
              <c:showPercent val="0"/>
              <c:showBubbleSize val="0"/>
            </c:dLbl>
            <c:dLbl>
              <c:idx val="3"/>
              <c:tx>
                <c:rich>
                  <a:bodyPr/>
                  <a:lstStyle/>
                  <a:p>
                    <a:r>
                      <a:t>286.15</a:t>
                    </a:r>
                  </a:p>
                </c:rich>
              </c:tx>
              <c:showLegendKey val="0"/>
              <c:showVal val="1"/>
              <c:showCatName val="0"/>
              <c:showSerName val="0"/>
              <c:showPercent val="0"/>
              <c:showBubbleSize val="0"/>
            </c:dLbl>
            <c:dLbl>
              <c:idx val="4"/>
              <c:tx>
                <c:rich>
                  <a:bodyPr/>
                  <a:lstStyle/>
                  <a:p>
                    <a:r>
                      <a:t>167.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Mineral Sunscreen Adults Sport Locion 50 180Ml</c:v>
                </c:pt>
                <c:pt idx="1">
                  <c:v>Edgewell Banana Boat Dry Balance Sunscreen Adults Sport Locion 50+ 60Ml</c:v>
                </c:pt>
                <c:pt idx="2">
                  <c:v>Edgewell Banana Boat Banded Pack Banded Pack 2X Sunscreen Multi 50+ 170Ml</c:v>
                </c:pt>
                <c:pt idx="3">
                  <c:v>Others Fabricante Unif. Others Marca Unif. Sunscreen Adults Sport Spray Locion 50 200Ml</c:v>
                </c:pt>
                <c:pt idx="4">
                  <c:v>Bayer Consumer Care Coppertone Sunscreen Adults Sport Locion 50 207Ml</c:v>
                </c:pt>
              </c:strCache>
            </c:strRef>
          </c:cat>
          <c:val>
            <c:numRef>
              <c:f>Sheet1!$B$2:$B$6</c:f>
              <c:numCache>
                <c:formatCode>General</c:formatCode>
                <c:ptCount val="5"/>
                <c:pt idx="0">
                  <c:v>358.05</c:v>
                </c:pt>
                <c:pt idx="1">
                  <c:v>88.14</c:v>
                </c:pt>
                <c:pt idx="2">
                  <c:v>443.31</c:v>
                </c:pt>
                <c:pt idx="3">
                  <c:v>286.15</c:v>
                </c:pt>
                <c:pt idx="4">
                  <c:v>167.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258.0</a:t>
                    </a:r>
                  </a:p>
                </c:rich>
              </c:tx>
              <c:showLegendKey val="0"/>
              <c:showVal val="1"/>
              <c:showCatName val="0"/>
              <c:showSerName val="0"/>
              <c:showPercent val="0"/>
              <c:showBubbleSize val="0"/>
            </c:dLbl>
            <c:dLbl>
              <c:idx val="2"/>
              <c:tx>
                <c:rich>
                  <a:bodyPr/>
                  <a:lstStyle/>
                  <a:p>
                    <a:r>
                      <a:t>294.01</a:t>
                    </a:r>
                  </a:p>
                </c:rich>
              </c:tx>
              <c:showLegendKey val="0"/>
              <c:showVal val="1"/>
              <c:showCatName val="0"/>
              <c:showSerName val="0"/>
              <c:showPercent val="0"/>
              <c:showBubbleSize val="0"/>
            </c:dLbl>
            <c:dLbl>
              <c:idx val="3"/>
              <c:tx>
                <c:rich>
                  <a:bodyPr/>
                  <a:lstStyle/>
                  <a:p>
                    <a:r>
                      <a:t>232.54</a:t>
                    </a:r>
                  </a:p>
                </c:rich>
              </c:tx>
              <c:showLegendKey val="0"/>
              <c:showVal val="1"/>
              <c:showCatName val="0"/>
              <c:showSerName val="0"/>
              <c:showPercent val="0"/>
              <c:showBubbleSize val="0"/>
            </c:dLbl>
            <c:dLbl>
              <c:idx val="4"/>
              <c:tx>
                <c:rich>
                  <a:bodyPr/>
                  <a:lstStyle/>
                  <a:p>
                    <a:r>
                      <a:t>290.0</a:t>
                    </a:r>
                  </a:p>
                </c:rich>
              </c:tx>
              <c:showLegendKey val="0"/>
              <c:showVal val="1"/>
              <c:showCatName val="0"/>
              <c:showSerName val="0"/>
              <c:showPercent val="0"/>
              <c:showBubbleSize val="0"/>
            </c:dLbl>
            <c:dLbl>
              <c:idx val="5"/>
              <c:tx>
                <c:rich>
                  <a:bodyPr/>
                  <a:lstStyle/>
                  <a:p>
                    <a:r>
                      <a:t>156.91</a:t>
                    </a:r>
                  </a:p>
                </c:rich>
              </c:tx>
              <c:showLegendKey val="0"/>
              <c:showVal val="1"/>
              <c:showCatName val="0"/>
              <c:showSerName val="0"/>
              <c:showPercent val="0"/>
              <c:showBubbleSize val="0"/>
            </c:dLbl>
            <c:dLbl>
              <c:idx val="6"/>
              <c:tx>
                <c:rich>
                  <a:bodyPr/>
                  <a:lstStyle/>
                  <a:p>
                    <a:r>
                      <a:t>118.11</a:t>
                    </a:r>
                  </a:p>
                </c:rich>
              </c:tx>
              <c:showLegendKey val="0"/>
              <c:showVal val="1"/>
              <c:showCatName val="0"/>
              <c:showSerName val="0"/>
              <c:showPercent val="0"/>
              <c:showBubbleSize val="0"/>
            </c:dLbl>
            <c:dLbl>
              <c:idx val="7"/>
              <c:tx>
                <c:rich>
                  <a:bodyPr/>
                  <a:lstStyle/>
                  <a:p>
                    <a:r>
                      <a:t>158.52</a:t>
                    </a:r>
                  </a:p>
                </c:rich>
              </c:tx>
              <c:showLegendKey val="0"/>
              <c:showVal val="1"/>
              <c:showCatName val="0"/>
              <c:showSerName val="0"/>
              <c:showPercent val="0"/>
              <c:showBubbleSize val="0"/>
            </c:dLbl>
            <c:dLbl>
              <c:idx val="8"/>
              <c:tx>
                <c:rich>
                  <a:bodyPr/>
                  <a:lstStyle/>
                  <a:p>
                    <a:r>
                      <a:t>58.24</a:t>
                    </a:r>
                  </a:p>
                </c:rich>
              </c:tx>
              <c:showLegendKey val="0"/>
              <c:showVal val="1"/>
              <c:showCatName val="0"/>
              <c:showSerName val="0"/>
              <c:showPercent val="0"/>
              <c:showBubbleSize val="0"/>
            </c:dLbl>
            <c:dLbl>
              <c:idx val="9"/>
              <c:tx>
                <c:rich>
                  <a:bodyPr/>
                  <a:lstStyle/>
                  <a:p>
                    <a:r>
                      <a:t>97.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Baby Sunscreen Baby Cosmetics Crema 50+ 240Ml</c:v>
                </c:pt>
                <c:pt idx="2">
                  <c:v>Beiersdorf Nivea Sunscreen Adults Cosmetics Crema 50+ 200Ml</c:v>
                </c:pt>
                <c:pt idx="3">
                  <c:v>Beiersdorf Nivea Sunscreen Adults Cosmetics Crema 50 50Ml</c:v>
                </c:pt>
                <c:pt idx="4">
                  <c:v>Beiersdorf Nivea Sunscreen Adults Cosmetics Crema 50+ 40Ml</c:v>
                </c:pt>
                <c:pt idx="5">
                  <c:v>Others Fabricante Unif. Others Marca Unif. Sunscreen Adults Cosmetics Crema 50+ 125Ml</c:v>
                </c:pt>
                <c:pt idx="6">
                  <c:v>Others Fabricante Unif. Others Marca Unif. Sunscreen Adults Cosmetics Crema 50 100Ml</c:v>
                </c:pt>
                <c:pt idx="7">
                  <c:v>Others Fabricante Unif. Others Marca Unif. Sunscreen Kids Cosmetics Crema 50+ 125Ml</c:v>
                </c:pt>
                <c:pt idx="8">
                  <c:v>Others Fabricante Unif. Others Marca Unif. Sunscreen Adults Cosmetics Crema 50 60Ml</c:v>
                </c:pt>
                <c:pt idx="9">
                  <c:v>Others Fabricante Unif. Others Marca Unif. Sunscreen Adults Cosmetics Crema 50 50Ml</c:v>
                </c:pt>
              </c:strCache>
            </c:strRef>
          </c:cat>
          <c:val>
            <c:numRef>
              <c:f>Sheet1!$B$2:$B$11</c:f>
              <c:numCache>
                <c:formatCode>General</c:formatCode>
                <c:ptCount val="10"/>
                <c:pt idx="0">
                  <c:v>240.0</c:v>
                </c:pt>
                <c:pt idx="1">
                  <c:v>258.0</c:v>
                </c:pt>
                <c:pt idx="2">
                  <c:v>294.01</c:v>
                </c:pt>
                <c:pt idx="3">
                  <c:v>232.54</c:v>
                </c:pt>
                <c:pt idx="4">
                  <c:v>290.0</c:v>
                </c:pt>
                <c:pt idx="5">
                  <c:v>156.91</c:v>
                </c:pt>
                <c:pt idx="6">
                  <c:v>118.11</c:v>
                </c:pt>
                <c:pt idx="7">
                  <c:v>158.52</c:v>
                </c:pt>
                <c:pt idx="8">
                  <c:v>58.24</c:v>
                </c:pt>
                <c:pt idx="9">
                  <c:v>97.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133.0</a:t>
                    </a:r>
                  </a:p>
                </c:rich>
              </c:tx>
              <c:showLegendKey val="0"/>
              <c:showVal val="1"/>
              <c:showCatName val="0"/>
              <c:showSerName val="0"/>
              <c:showPercent val="0"/>
              <c:showBubbleSize val="0"/>
            </c:dLbl>
            <c:dLbl>
              <c:idx val="2"/>
              <c:tx>
                <c:rich>
                  <a:bodyPr/>
                  <a:lstStyle/>
                  <a:p>
                    <a:r>
                      <a:t>188.63</a:t>
                    </a:r>
                  </a:p>
                </c:rich>
              </c:tx>
              <c:showLegendKey val="0"/>
              <c:showVal val="1"/>
              <c:showCatName val="0"/>
              <c:showSerName val="0"/>
              <c:showPercent val="0"/>
              <c:showBubbleSize val="0"/>
            </c:dLbl>
            <c:dLbl>
              <c:idx val="3"/>
              <c:tx>
                <c:rich>
                  <a:bodyPr/>
                  <a:lstStyle/>
                  <a:p>
                    <a:r>
                      <a:t>295.0</a:t>
                    </a:r>
                  </a:p>
                </c:rich>
              </c:tx>
              <c:showLegendKey val="0"/>
              <c:showVal val="1"/>
              <c:showCatName val="0"/>
              <c:showSerName val="0"/>
              <c:showPercent val="0"/>
              <c:showBubbleSize val="0"/>
            </c:dLbl>
            <c:dLbl>
              <c:idx val="4"/>
              <c:tx>
                <c:rich>
                  <a:bodyPr/>
                  <a:lstStyle/>
                  <a:p>
                    <a:r>
                      <a:t>362.53</a:t>
                    </a:r>
                  </a:p>
                </c:rich>
              </c:tx>
              <c:showLegendKey val="0"/>
              <c:showVal val="1"/>
              <c:showCatName val="0"/>
              <c:showSerName val="0"/>
              <c:showPercent val="0"/>
              <c:showBubbleSize val="0"/>
            </c:dLbl>
            <c:dLbl>
              <c:idx val="5"/>
              <c:tx>
                <c:rich>
                  <a:bodyPr/>
                  <a:lstStyle/>
                  <a:p>
                    <a:r>
                      <a:t>172.05</a:t>
                    </a:r>
                  </a:p>
                </c:rich>
              </c:tx>
              <c:showLegendKey val="0"/>
              <c:showVal val="1"/>
              <c:showCatName val="0"/>
              <c:showSerName val="0"/>
              <c:showPercent val="0"/>
              <c:showBubbleSize val="0"/>
            </c:dLbl>
            <c:dLbl>
              <c:idx val="6"/>
              <c:tx>
                <c:rich>
                  <a:bodyPr/>
                  <a:lstStyle/>
                  <a:p>
                    <a:r>
                      <a:t>243.76</a:t>
                    </a:r>
                  </a:p>
                </c:rich>
              </c:tx>
              <c:showLegendKey val="0"/>
              <c:showVal val="1"/>
              <c:showCatName val="0"/>
              <c:showSerName val="0"/>
              <c:showPercent val="0"/>
              <c:showBubbleSize val="0"/>
            </c:dLbl>
            <c:dLbl>
              <c:idx val="7"/>
              <c:tx>
                <c:rich>
                  <a:bodyPr/>
                  <a:lstStyle/>
                  <a:p>
                    <a:r>
                      <a:t>9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60Ml</c:v>
                </c:pt>
                <c:pt idx="1">
                  <c:v>Edgewell Hawaiian Tropic Sheer Touch Sunscreen Adults Cosmetics Liquido 30 - 49 60Ml</c:v>
                </c:pt>
                <c:pt idx="2">
                  <c:v>Beiersdorf Nivea Sunscreen Adults Cosmetics Liquido 50+ 125Ml</c:v>
                </c:pt>
                <c:pt idx="3">
                  <c:v>Beiersdorf Nivea Sunscreen Kids Cosmetics Liquido 50+ 200Ml</c:v>
                </c:pt>
                <c:pt idx="4">
                  <c:v>Beiersdorf Nivea Sunscreen Adults Cosmetics Spray Liquido 50 200Ml</c:v>
                </c:pt>
                <c:pt idx="5">
                  <c:v>Beiersdorf Nivea Sunscreen Kids Cosmetics Liquido 50+ 125Ml</c:v>
                </c:pt>
                <c:pt idx="6">
                  <c:v>Beiersdorf Nivea Sunscreen Adults Cosmetics Liquido 50 200Ml</c:v>
                </c:pt>
                <c:pt idx="7">
                  <c:v>Others Fabricante Unif. Others Marca Unif. Sunscreen Adults Cosmetics Spray Liquido 50+ 50Ml</c:v>
                </c:pt>
              </c:strCache>
            </c:strRef>
          </c:cat>
          <c:val>
            <c:numRef>
              <c:f>Sheet1!$B$2:$B$9</c:f>
              <c:numCache>
                <c:formatCode>General</c:formatCode>
                <c:ptCount val="8"/>
                <c:pt idx="0">
                  <c:v>96.8</c:v>
                </c:pt>
                <c:pt idx="1">
                  <c:v>133.0</c:v>
                </c:pt>
                <c:pt idx="2">
                  <c:v>188.63</c:v>
                </c:pt>
                <c:pt idx="3">
                  <c:v>295.0</c:v>
                </c:pt>
                <c:pt idx="4">
                  <c:v>362.53</c:v>
                </c:pt>
                <c:pt idx="5">
                  <c:v>172.05</c:v>
                </c:pt>
                <c:pt idx="6">
                  <c:v>243.76</c:v>
                </c:pt>
                <c:pt idx="7">
                  <c:v>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4.59</a:t>
                    </a:r>
                  </a:p>
                </c:rich>
              </c:tx>
              <c:showLegendKey val="0"/>
              <c:showVal val="1"/>
              <c:showCatName val="0"/>
              <c:showSerName val="0"/>
              <c:showPercent val="0"/>
              <c:showBubbleSize val="0"/>
            </c:dLbl>
            <c:dLbl>
              <c:idx val="1"/>
              <c:tx>
                <c:rich>
                  <a:bodyPr/>
                  <a:lstStyle/>
                  <a:p>
                    <a:r>
                      <a:t>1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Mineral Sunscreen Adults Cosmetics Locion 50 60Ml</c:v>
                </c:pt>
                <c:pt idx="1">
                  <c:v>Edgewell Banana Boat Gentle Protect Sunscreen Adults Cosmetics Locion 50 180Ml</c:v>
                </c:pt>
              </c:strCache>
            </c:strRef>
          </c:cat>
          <c:val>
            <c:numRef>
              <c:f>Sheet1!$B$2:$B$3</c:f>
              <c:numCache>
                <c:formatCode>General</c:formatCode>
                <c:ptCount val="2"/>
                <c:pt idx="0">
                  <c:v>234.59</c:v>
                </c:pt>
                <c:pt idx="1">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09</a:t>
                    </a:r>
                  </a:p>
                </c:rich>
              </c:tx>
              <c:showLegendKey val="0"/>
              <c:showVal val="1"/>
              <c:showCatName val="0"/>
              <c:showSerName val="0"/>
              <c:showPercent val="0"/>
              <c:showBubbleSize val="0"/>
            </c:dLbl>
            <c:dLbl>
              <c:idx val="1"/>
              <c:tx>
                <c:rich>
                  <a:bodyPr/>
                  <a:lstStyle/>
                  <a:p>
                    <a:r>
                      <a:t>22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Liquido 50 60Ml</c:v>
                </c:pt>
                <c:pt idx="1">
                  <c:v>Edgewell Hawaiian Tropic Island Sport Sunscreen Adults Sport Spray Liquido 50 220Ml</c:v>
                </c:pt>
              </c:strCache>
            </c:strRef>
          </c:cat>
          <c:val>
            <c:numRef>
              <c:f>Sheet1!$B$2:$B$3</c:f>
              <c:numCache>
                <c:formatCode>General</c:formatCode>
                <c:ptCount val="2"/>
                <c:pt idx="0">
                  <c:v>70.09</c:v>
                </c:pt>
                <c:pt idx="1">
                  <c:v>22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5.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20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290.34</a:t>
                    </a:r>
                  </a:p>
                </c:rich>
              </c:tx>
              <c:showLegendKey val="0"/>
              <c:showVal val="1"/>
              <c:showCatName val="0"/>
              <c:showSerName val="0"/>
              <c:showPercent val="0"/>
              <c:showBubbleSize val="0"/>
            </c:dLbl>
            <c:dLbl>
              <c:idx val="2"/>
              <c:tx>
                <c:rich>
                  <a:bodyPr/>
                  <a:lstStyle/>
                  <a:p>
                    <a:r>
                      <a:t>189.54</a:t>
                    </a:r>
                  </a:p>
                </c:rich>
              </c:tx>
              <c:showLegendKey val="0"/>
              <c:showVal val="1"/>
              <c:showCatName val="0"/>
              <c:showSerName val="0"/>
              <c:showPercent val="0"/>
              <c:showBubbleSize val="0"/>
            </c:dLbl>
            <c:dLbl>
              <c:idx val="3"/>
              <c:tx>
                <c:rich>
                  <a:bodyPr/>
                  <a:lstStyle/>
                  <a:p>
                    <a:r>
                      <a:t>300.48</a:t>
                    </a:r>
                  </a:p>
                </c:rich>
              </c:tx>
              <c:showLegendKey val="0"/>
              <c:showVal val="1"/>
              <c:showCatName val="0"/>
              <c:showSerName val="0"/>
              <c:showPercent val="0"/>
              <c:showBubbleSize val="0"/>
            </c:dLbl>
            <c:dLbl>
              <c:idx val="4"/>
              <c:tx>
                <c:rich>
                  <a:bodyPr/>
                  <a:lstStyle/>
                  <a:p>
                    <a:r>
                      <a:t>260.9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271.03</a:t>
                    </a:r>
                  </a:p>
                </c:rich>
              </c:tx>
              <c:showLegendKey val="0"/>
              <c:showVal val="1"/>
              <c:showCatName val="0"/>
              <c:showSerName val="0"/>
              <c:showPercent val="0"/>
              <c:showBubbleSize val="0"/>
            </c:dLbl>
            <c:dLbl>
              <c:idx val="8"/>
              <c:tx>
                <c:rich>
                  <a:bodyPr/>
                  <a:lstStyle/>
                  <a:p>
                    <a:r>
                      <a:t>254.56</a:t>
                    </a:r>
                  </a:p>
                </c:rich>
              </c:tx>
              <c:showLegendKey val="0"/>
              <c:showVal val="1"/>
              <c:showCatName val="0"/>
              <c:showSerName val="0"/>
              <c:showPercent val="0"/>
              <c:showBubbleSize val="0"/>
            </c:dLbl>
            <c:dLbl>
              <c:idx val="9"/>
              <c:tx>
                <c:rich>
                  <a:bodyPr/>
                  <a:lstStyle/>
                  <a:p>
                    <a:r>
                      <a:t>288.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Banana Boat Aqua Protect Sunscreen Adults Cosmetics Crema 50+ 236Ml</c:v>
                </c:pt>
                <c:pt idx="2">
                  <c:v>Edgewell Hawaiian Tropic Sheer Touch Sunscreen Adults Cosmetics Crema 50 120Ml</c:v>
                </c:pt>
                <c:pt idx="3">
                  <c:v>Edgewell Hawaiian Tropic Sheer Touch Sunscreen Adults Cosmetics Crema 30 - 49 240Ml</c:v>
                </c:pt>
                <c:pt idx="4">
                  <c:v>Edgewell Banana Boat Kids Sport Sunscreen Kids Cosmetics Crema 50 18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Nivea Sunscreen Adults Cosmetics Crema 30 - 49 200Ml</c:v>
                </c:pt>
              </c:strCache>
            </c:strRef>
          </c:cat>
          <c:val>
            <c:numRef>
              <c:f>Sheet1!$B$2:$B$11</c:f>
              <c:numCache>
                <c:formatCode>General</c:formatCode>
                <c:ptCount val="10"/>
                <c:pt idx="0">
                  <c:v>312.14</c:v>
                </c:pt>
                <c:pt idx="1">
                  <c:v>290.34</c:v>
                </c:pt>
                <c:pt idx="2">
                  <c:v>189.54</c:v>
                </c:pt>
                <c:pt idx="3">
                  <c:v>300.48</c:v>
                </c:pt>
                <c:pt idx="4">
                  <c:v>260.99</c:v>
                </c:pt>
                <c:pt idx="5">
                  <c:v>305.54</c:v>
                </c:pt>
                <c:pt idx="6">
                  <c:v>271.17</c:v>
                </c:pt>
                <c:pt idx="7">
                  <c:v>271.03</c:v>
                </c:pt>
                <c:pt idx="8">
                  <c:v>254.56</c:v>
                </c:pt>
                <c:pt idx="9">
                  <c:v>28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2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4.74</c:v>
                </c:pt>
                <c:pt idx="1">
                  <c:v>306.26</c:v>
                </c:pt>
                <c:pt idx="2">
                  <c:v>2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50+ 50Ml</c:v>
                </c:pt>
              </c:strCache>
            </c:strRef>
          </c:cat>
          <c:val>
            <c:numRef>
              <c:f>Sheet1!$B$2:$B$2</c:f>
              <c:numCache>
                <c:formatCode>General</c:formatCode>
                <c:ptCount val="1"/>
                <c:pt idx="0">
                  <c:v>36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101.15</a:t>
                    </a:r>
                  </a:p>
                </c:rich>
              </c:tx>
              <c:showLegendKey val="0"/>
              <c:showVal val="1"/>
              <c:showCatName val="0"/>
              <c:showSerName val="0"/>
              <c:showPercent val="0"/>
              <c:showBubbleSize val="0"/>
            </c:dLbl>
            <c:dLbl>
              <c:idx val="2"/>
              <c:tx>
                <c:rich>
                  <a:bodyPr/>
                  <a:lstStyle/>
                  <a:p>
                    <a:r>
                      <a:t>330.69</a:t>
                    </a:r>
                  </a:p>
                </c:rich>
              </c:tx>
              <c:showLegendKey val="0"/>
              <c:showVal val="1"/>
              <c:showCatName val="0"/>
              <c:showSerName val="0"/>
              <c:showPercent val="0"/>
              <c:showBubbleSize val="0"/>
            </c:dLbl>
            <c:dLbl>
              <c:idx val="3"/>
              <c:tx>
                <c:rich>
                  <a:bodyPr/>
                  <a:lstStyle/>
                  <a:p>
                    <a:r>
                      <a:t>298.88</a:t>
                    </a:r>
                  </a:p>
                </c:rich>
              </c:tx>
              <c:showLegendKey val="0"/>
              <c:showVal val="1"/>
              <c:showCatName val="0"/>
              <c:showSerName val="0"/>
              <c:showPercent val="0"/>
              <c:showBubbleSize val="0"/>
            </c:dLbl>
            <c:dLbl>
              <c:idx val="4"/>
              <c:tx>
                <c:rich>
                  <a:bodyPr/>
                  <a:lstStyle/>
                  <a:p>
                    <a:r>
                      <a:t>312.87</a:t>
                    </a:r>
                  </a:p>
                </c:rich>
              </c:tx>
              <c:showLegendKey val="0"/>
              <c:showVal val="1"/>
              <c:showCatName val="0"/>
              <c:showSerName val="0"/>
              <c:showPercent val="0"/>
              <c:showBubbleSize val="0"/>
            </c:dLbl>
            <c:dLbl>
              <c:idx val="5"/>
              <c:tx>
                <c:rich>
                  <a:bodyPr/>
                  <a:lstStyle/>
                  <a:p>
                    <a:r>
                      <a:t>300.66</a:t>
                    </a:r>
                  </a:p>
                </c:rich>
              </c:tx>
              <c:showLegendKey val="0"/>
              <c:showVal val="1"/>
              <c:showCatName val="0"/>
              <c:showSerName val="0"/>
              <c:showPercent val="0"/>
              <c:showBubbleSize val="0"/>
            </c:dLbl>
            <c:dLbl>
              <c:idx val="6"/>
              <c:tx>
                <c:rich>
                  <a:bodyPr/>
                  <a:lstStyle/>
                  <a:p>
                    <a:r>
                      <a:t>187.83</a:t>
                    </a:r>
                  </a:p>
                </c:rich>
              </c:tx>
              <c:showLegendKey val="0"/>
              <c:showVal val="1"/>
              <c:showCatName val="0"/>
              <c:showSerName val="0"/>
              <c:showPercent val="0"/>
              <c:showBubbleSize val="0"/>
            </c:dLbl>
            <c:dLbl>
              <c:idx val="7"/>
              <c:tx>
                <c:rich>
                  <a:bodyPr/>
                  <a:lstStyle/>
                  <a:p>
                    <a:r>
                      <a:t>336.27</a:t>
                    </a:r>
                  </a:p>
                </c:rich>
              </c:tx>
              <c:showLegendKey val="0"/>
              <c:showVal val="1"/>
              <c:showCatName val="0"/>
              <c:showSerName val="0"/>
              <c:showPercent val="0"/>
              <c:showBubbleSize val="0"/>
            </c:dLbl>
            <c:dLbl>
              <c:idx val="8"/>
              <c:tx>
                <c:rich>
                  <a:bodyPr/>
                  <a:lstStyle/>
                  <a:p>
                    <a:r>
                      <a:t>292.54</a:t>
                    </a:r>
                  </a:p>
                </c:rich>
              </c:tx>
              <c:showLegendKey val="0"/>
              <c:showVal val="1"/>
              <c:showCatName val="0"/>
              <c:showSerName val="0"/>
              <c:showPercent val="0"/>
              <c:showBubbleSize val="0"/>
            </c:dLbl>
            <c:dLbl>
              <c:idx val="9"/>
              <c:tx>
                <c:rich>
                  <a:bodyPr/>
                  <a:lstStyle/>
                  <a:p>
                    <a:r>
                      <a:t>266.74</a:t>
                    </a:r>
                  </a:p>
                </c:rich>
              </c:tx>
              <c:showLegendKey val="0"/>
              <c:showVal val="1"/>
              <c:showCatName val="0"/>
              <c:showSerName val="0"/>
              <c:showPercent val="0"/>
              <c:showBubbleSize val="0"/>
            </c:dLbl>
            <c:dLbl>
              <c:idx val="10"/>
              <c:tx>
                <c:rich>
                  <a:bodyPr/>
                  <a:lstStyle/>
                  <a:p>
                    <a:r>
                      <a:t>252.24</a:t>
                    </a:r>
                  </a:p>
                </c:rich>
              </c:tx>
              <c:showLegendKey val="0"/>
              <c:showVal val="1"/>
              <c:showCatName val="0"/>
              <c:showSerName val="0"/>
              <c:showPercent val="0"/>
              <c:showBubbleSize val="0"/>
            </c:dLbl>
            <c:dLbl>
              <c:idx val="11"/>
              <c:tx>
                <c:rich>
                  <a:bodyPr/>
                  <a:lstStyle/>
                  <a:p>
                    <a:r>
                      <a:t>164.78</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104.73</a:t>
                    </a:r>
                  </a:p>
                </c:rich>
              </c:tx>
              <c:showLegendKey val="0"/>
              <c:showVal val="1"/>
              <c:showCatName val="0"/>
              <c:showSerName val="0"/>
              <c:showPercent val="0"/>
              <c:showBubbleSize val="0"/>
            </c:dLbl>
            <c:dLbl>
              <c:idx val="14"/>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Ozono Sunscreen Adults Cosmetics Spray Liquido 50+ 180Ml</c:v>
                </c:pt>
                <c:pt idx="3">
                  <c:v>Edgewell Banana Boat Advanced Protection Sunscreen Adults Cosmetics Liquido 50+ 240Ml</c:v>
                </c:pt>
                <c:pt idx="4">
                  <c:v>Edgewell Banana Boat Aqua Protect Sunscreen Adults Cosmetics Spray Liquido 50+ 17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Adults Cosmetics Liquido 30 - 49 200Ml</c:v>
                </c:pt>
                <c:pt idx="10">
                  <c:v>Others Fabricante Unif. Others Marca Unif. Sunscreen Adults Cosmetics Liquido 30 50Ml</c:v>
                </c:pt>
                <c:pt idx="11">
                  <c:v>Others Fabricante Unif. Others Marca Unif. Sunscreen Kids Cosmetics Liquido 50 100Ml</c:v>
                </c:pt>
                <c:pt idx="12">
                  <c:v>Others Fabricante Unif. Others Marca Unif. Sunscreen Adults Cosmetics Spray Liquido 50 200Ml</c:v>
                </c:pt>
                <c:pt idx="13">
                  <c:v>Others Fabricante Unif. Others Marca Unif. Sunscreen Adults Cosmetics Spray Liquido 50 70Ml</c:v>
                </c:pt>
                <c:pt idx="14">
                  <c:v>Others Fabricante Unif. Others Marca Unif. Sunscreen Adults Cosmetics Spray Liquido 50 50Ml</c:v>
                </c:pt>
              </c:strCache>
            </c:strRef>
          </c:cat>
          <c:val>
            <c:numRef>
              <c:f>Sheet1!$B$2:$B$16</c:f>
              <c:numCache>
                <c:formatCode>General</c:formatCode>
                <c:ptCount val="15"/>
                <c:pt idx="0">
                  <c:v>305.12</c:v>
                </c:pt>
                <c:pt idx="1">
                  <c:v>101.15</c:v>
                </c:pt>
                <c:pt idx="2">
                  <c:v>330.69</c:v>
                </c:pt>
                <c:pt idx="3">
                  <c:v>298.88</c:v>
                </c:pt>
                <c:pt idx="4">
                  <c:v>312.87</c:v>
                </c:pt>
                <c:pt idx="5">
                  <c:v>300.66</c:v>
                </c:pt>
                <c:pt idx="6">
                  <c:v>187.83</c:v>
                </c:pt>
                <c:pt idx="7">
                  <c:v>336.27</c:v>
                </c:pt>
                <c:pt idx="8">
                  <c:v>292.54</c:v>
                </c:pt>
                <c:pt idx="9">
                  <c:v>266.74</c:v>
                </c:pt>
                <c:pt idx="10">
                  <c:v>252.24</c:v>
                </c:pt>
                <c:pt idx="11">
                  <c:v>164.78</c:v>
                </c:pt>
                <c:pt idx="12">
                  <c:v>299.0</c:v>
                </c:pt>
                <c:pt idx="13">
                  <c:v>104.73</c:v>
                </c:pt>
                <c:pt idx="14">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showLegendKey val="0"/>
              <c:showVal val="1"/>
              <c:showCatName val="0"/>
              <c:showSerName val="0"/>
              <c:showPercent val="0"/>
              <c:showBubbleSize val="0"/>
            </c:dLbl>
            <c:dLbl>
              <c:idx val="1"/>
              <c:tx>
                <c:rich>
                  <a:bodyPr/>
                  <a:lstStyle/>
                  <a:p>
                    <a:r>
                      <a:t>331.9</a:t>
                    </a:r>
                  </a:p>
                </c:rich>
              </c:tx>
              <c:showLegendKey val="0"/>
              <c:showVal val="1"/>
              <c:showCatName val="0"/>
              <c:showSerName val="0"/>
              <c:showPercent val="0"/>
              <c:showBubbleSize val="0"/>
            </c:dLbl>
            <c:dLbl>
              <c:idx val="2"/>
              <c:tx>
                <c:rich>
                  <a:bodyPr/>
                  <a:lstStyle/>
                  <a:p>
                    <a:r>
                      <a:t>316.99</a:t>
                    </a:r>
                  </a:p>
                </c:rich>
              </c:tx>
              <c:showLegendKey val="0"/>
              <c:showVal val="1"/>
              <c:showCatName val="0"/>
              <c:showSerName val="0"/>
              <c:showPercent val="0"/>
              <c:showBubbleSize val="0"/>
            </c:dLbl>
            <c:dLbl>
              <c:idx val="3"/>
              <c:tx>
                <c:rich>
                  <a:bodyPr/>
                  <a:lstStyle/>
                  <a:p>
                    <a:r>
                      <a:t>316.7</a:t>
                    </a:r>
                  </a:p>
                </c:rich>
              </c:tx>
              <c:showLegendKey val="0"/>
              <c:showVal val="1"/>
              <c:showCatName val="0"/>
              <c:showSerName val="0"/>
              <c:showPercent val="0"/>
              <c:showBubbleSize val="0"/>
            </c:dLbl>
            <c:dLbl>
              <c:idx val="4"/>
              <c:tx>
                <c:rich>
                  <a:bodyPr/>
                  <a:lstStyle/>
                  <a:p>
                    <a:r>
                      <a:t>288.83</a:t>
                    </a:r>
                  </a:p>
                </c:rich>
              </c:tx>
              <c:showLegendKey val="0"/>
              <c:showVal val="1"/>
              <c:showCatName val="0"/>
              <c:showSerName val="0"/>
              <c:showPercent val="0"/>
              <c:showBubbleSize val="0"/>
            </c:dLbl>
            <c:dLbl>
              <c:idx val="5"/>
              <c:tx>
                <c:rich>
                  <a:bodyPr/>
                  <a:lstStyle/>
                  <a:p>
                    <a:r>
                      <a:t>494.13</a:t>
                    </a:r>
                  </a:p>
                </c:rich>
              </c:tx>
              <c:showLegendKey val="0"/>
              <c:showVal val="1"/>
              <c:showCatName val="0"/>
              <c:showSerName val="0"/>
              <c:showPercent val="0"/>
              <c:showBubbleSize val="0"/>
            </c:dLbl>
            <c:dLbl>
              <c:idx val="6"/>
              <c:tx>
                <c:rich>
                  <a:bodyPr/>
                  <a:lstStyle/>
                  <a:p>
                    <a:r>
                      <a:t>344.12</a:t>
                    </a:r>
                  </a:p>
                </c:rich>
              </c:tx>
              <c:showLegendKey val="0"/>
              <c:showVal val="1"/>
              <c:showCatName val="0"/>
              <c:showSerName val="0"/>
              <c:showPercent val="0"/>
              <c:showBubbleSize val="0"/>
            </c:dLbl>
            <c:dLbl>
              <c:idx val="7"/>
              <c:tx>
                <c:rich>
                  <a:bodyPr/>
                  <a:lstStyle/>
                  <a:p>
                    <a:r>
                      <a:t>270.0</a:t>
                    </a:r>
                  </a:p>
                </c:rich>
              </c:tx>
              <c:showLegendKey val="0"/>
              <c:showVal val="1"/>
              <c:showCatName val="0"/>
              <c:showSerName val="0"/>
              <c:showPercent val="0"/>
              <c:showBubbleSize val="0"/>
            </c:dLbl>
            <c:dLbl>
              <c:idx val="8"/>
              <c:tx>
                <c:rich>
                  <a:bodyPr/>
                  <a:lstStyle/>
                  <a:p>
                    <a:r>
                      <a:t>308.31</a:t>
                    </a:r>
                  </a:p>
                </c:rich>
              </c:tx>
              <c:showLegendKey val="0"/>
              <c:showVal val="1"/>
              <c:showCatName val="0"/>
              <c:showSerName val="0"/>
              <c:showPercent val="0"/>
              <c:showBubbleSize val="0"/>
            </c:dLbl>
            <c:dLbl>
              <c:idx val="9"/>
              <c:tx>
                <c:rich>
                  <a:bodyPr/>
                  <a:lstStyle/>
                  <a:p>
                    <a:r>
                      <a:t>195.0</a:t>
                    </a:r>
                  </a:p>
                </c:rich>
              </c:tx>
              <c:showLegendKey val="0"/>
              <c:showVal val="1"/>
              <c:showCatName val="0"/>
              <c:showSerName val="0"/>
              <c:showPercent val="0"/>
              <c:showBubbleSize val="0"/>
            </c:dLbl>
            <c:dLbl>
              <c:idx val="10"/>
              <c:tx>
                <c:rich>
                  <a:bodyPr/>
                  <a:lstStyle/>
                  <a:p>
                    <a:r>
                      <a:t>250.0</a:t>
                    </a:r>
                  </a:p>
                </c:rich>
              </c:tx>
              <c:showLegendKey val="0"/>
              <c:showVal val="1"/>
              <c:showCatName val="0"/>
              <c:showSerName val="0"/>
              <c:showPercent val="0"/>
              <c:showBubbleSize val="0"/>
            </c:dLbl>
            <c:dLbl>
              <c:idx val="11"/>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Banded Pack Banded Pack 2X Sunscreen Multi 50+ 236Ml</c:v>
                </c:pt>
                <c:pt idx="1">
                  <c:v>Edgewell Banana Boat Banded Pack Banded Pack 2X Sunscreen Multi 50+ 170Ml</c:v>
                </c:pt>
                <c:pt idx="2">
                  <c:v>Edgewell Banana Boat Mineral Sunscreen Adults Cosmetics Locion 50 180Ml</c:v>
                </c:pt>
                <c:pt idx="3">
                  <c:v>Edgewell Banana Boat Mineral Sunscreen Kids Cosmetics Locion 50 180Ml</c:v>
                </c:pt>
                <c:pt idx="4">
                  <c:v>Edgewell Banana Boat Mineral Sunscreen Adults Cosmetics Locion 50 60Ml</c:v>
                </c:pt>
                <c:pt idx="5">
                  <c:v>Labs. Expanscience Mustela Sunscreen Baby Cosmetics Locion 50+ 100Ml</c:v>
                </c:pt>
                <c:pt idx="6">
                  <c:v>Labs. Expanscience Mustela Sunscreen Kids Cosmetics Locion 50+ 40Ml</c:v>
                </c:pt>
                <c:pt idx="7">
                  <c:v>Sun &amp; Skin Care Research No-Ad Sunscreen Adults Cosmetics Locion 50+ 250Ml</c:v>
                </c:pt>
                <c:pt idx="8">
                  <c:v>Sun &amp; Skin Care Research Ocean Potion Sunscreen Adults Cosmetics Locion 50 201Ml</c:v>
                </c:pt>
                <c:pt idx="9">
                  <c:v>Sun &amp; Skin Care Research No-Ad Sunscreen Adults Cosmetics Locion 50+ 89Ml</c:v>
                </c:pt>
                <c:pt idx="10">
                  <c:v>Sun &amp; Skin Care Research No-Ad Sunscreen Adults Cosmetics Locion 60 250Ml</c:v>
                </c:pt>
                <c:pt idx="11">
                  <c:v>Sun &amp; Skin Care Research No-Ad Sunscreen Adults Cosmetics Locion 50 89Ml</c:v>
                </c:pt>
              </c:strCache>
            </c:strRef>
          </c:cat>
          <c:val>
            <c:numRef>
              <c:f>Sheet1!$B$2:$B$13</c:f>
              <c:numCache>
                <c:formatCode>General</c:formatCode>
                <c:ptCount val="12"/>
                <c:pt idx="0">
                  <c:v>268.26</c:v>
                </c:pt>
                <c:pt idx="1">
                  <c:v>331.9</c:v>
                </c:pt>
                <c:pt idx="2">
                  <c:v>316.99</c:v>
                </c:pt>
                <c:pt idx="3">
                  <c:v>316.7</c:v>
                </c:pt>
                <c:pt idx="4">
                  <c:v>288.83</c:v>
                </c:pt>
                <c:pt idx="5">
                  <c:v>494.13</c:v>
                </c:pt>
                <c:pt idx="6">
                  <c:v>344.12</c:v>
                </c:pt>
                <c:pt idx="7">
                  <c:v>270.0</c:v>
                </c:pt>
                <c:pt idx="8">
                  <c:v>308.31</c:v>
                </c:pt>
                <c:pt idx="9">
                  <c:v>195.0</c:v>
                </c:pt>
                <c:pt idx="10">
                  <c:v>250.0</c:v>
                </c:pt>
                <c:pt idx="11">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2.53</a:t>
                    </a:r>
                  </a:p>
                </c:rich>
              </c:tx>
              <c:showLegendKey val="0"/>
              <c:showVal val="1"/>
              <c:showCatName val="0"/>
              <c:showSerName val="0"/>
              <c:showPercent val="0"/>
              <c:showBubbleSize val="0"/>
            </c:dLbl>
            <c:dLbl>
              <c:idx val="2"/>
              <c:tx>
                <c:rich>
                  <a:bodyPr/>
                  <a:lstStyle/>
                  <a:p>
                    <a:r>
                      <a:t>380.57</a:t>
                    </a:r>
                  </a:p>
                </c:rich>
              </c:tx>
              <c:showLegendKey val="0"/>
              <c:showVal val="1"/>
              <c:showCatName val="0"/>
              <c:showSerName val="0"/>
              <c:showPercent val="0"/>
              <c:showBubbleSize val="0"/>
            </c:dLbl>
            <c:dLbl>
              <c:idx val="3"/>
              <c:tx>
                <c:rich>
                  <a:bodyPr/>
                  <a:lstStyle/>
                  <a:p>
                    <a:r>
                      <a:t>350.53</a:t>
                    </a:r>
                  </a:p>
                </c:rich>
              </c:tx>
              <c:showLegendKey val="0"/>
              <c:showVal val="1"/>
              <c:showCatName val="0"/>
              <c:showSerName val="0"/>
              <c:showPercent val="0"/>
              <c:showBubbleSize val="0"/>
            </c:dLbl>
            <c:dLbl>
              <c:idx val="4"/>
              <c:tx>
                <c:rich>
                  <a:bodyPr/>
                  <a:lstStyle/>
                  <a:p>
                    <a:r>
                      <a:t>303.92</a:t>
                    </a:r>
                  </a:p>
                </c:rich>
              </c:tx>
              <c:showLegendKey val="0"/>
              <c:showVal val="1"/>
              <c:showCatName val="0"/>
              <c:showSerName val="0"/>
              <c:showPercent val="0"/>
              <c:showBubbleSize val="0"/>
            </c:dLbl>
            <c:dLbl>
              <c:idx val="5"/>
              <c:tx>
                <c:rich>
                  <a:bodyPr/>
                  <a:lstStyle/>
                  <a:p>
                    <a:r>
                      <a:t>398.0</a:t>
                    </a:r>
                  </a:p>
                </c:rich>
              </c:tx>
              <c:showLegendKey val="0"/>
              <c:showVal val="1"/>
              <c:showCatName val="0"/>
              <c:showSerName val="0"/>
              <c:showPercent val="0"/>
              <c:showBubbleSize val="0"/>
            </c:dLbl>
            <c:dLbl>
              <c:idx val="6"/>
              <c:tx>
                <c:rich>
                  <a:bodyPr/>
                  <a:lstStyle/>
                  <a:p>
                    <a:r>
                      <a:t>357.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Australian Gold Australian Gold Sunscreen Adults Cosmetics Spray 15 - 19 170Ml</c:v>
                </c:pt>
                <c:pt idx="4">
                  <c:v>Sun &amp; Skin Care Research Ocean Potion Sunscreen Adults Cosmetics Spray 30 - 49 156Ml</c:v>
                </c:pt>
                <c:pt idx="5">
                  <c:v>Sun &amp; Skin Care Research Ocean Potion Sunscreen Adults Cosmetics Spray 50+ 156Ml</c:v>
                </c:pt>
                <c:pt idx="6">
                  <c:v>Australian Gold Australian Gold Sunscreen Kids Cosmetics Spray 50 170Ml</c:v>
                </c:pt>
                <c:pt idx="7">
                  <c:v>Sun &amp; Skin Care Research Ocean Potion Sunscreen Adults Cosmetics Spray 50 156Ml</c:v>
                </c:pt>
                <c:pt idx="8">
                  <c:v>Sun &amp; Skin Care Research Ocean Potion Sunscreen Kids Cosmetics Spray 50 156Ml</c:v>
                </c:pt>
              </c:strCache>
            </c:strRef>
          </c:cat>
          <c:val>
            <c:numRef>
              <c:f>Sheet1!$B$2:$B$10</c:f>
              <c:numCache>
                <c:formatCode>General</c:formatCode>
                <c:ptCount val="9"/>
                <c:pt idx="0">
                  <c:v>310.0</c:v>
                </c:pt>
                <c:pt idx="1">
                  <c:v>242.53</c:v>
                </c:pt>
                <c:pt idx="2">
                  <c:v>380.57</c:v>
                </c:pt>
                <c:pt idx="3">
                  <c:v>350.53</c:v>
                </c:pt>
                <c:pt idx="4">
                  <c:v>303.92</c:v>
                </c:pt>
                <c:pt idx="5">
                  <c:v>398.0</c:v>
                </c:pt>
                <c:pt idx="6">
                  <c:v>357.0</c:v>
                </c:pt>
                <c:pt idx="7">
                  <c:v>310.0</c:v>
                </c:pt>
                <c:pt idx="8">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296.2</a:t>
                    </a:r>
                  </a:p>
                </c:rich>
              </c:tx>
              <c:showLegendKey val="0"/>
              <c:showVal val="1"/>
              <c:showCatName val="0"/>
              <c:showSerName val="0"/>
              <c:showPercent val="0"/>
              <c:showBubbleSize val="0"/>
            </c:dLbl>
            <c:dLbl>
              <c:idx val="2"/>
              <c:tx>
                <c:rich>
                  <a:bodyPr/>
                  <a:lstStyle/>
                  <a:p>
                    <a:r>
                      <a:t>93.47</a:t>
                    </a:r>
                  </a:p>
                </c:rich>
              </c:tx>
              <c:showLegendKey val="0"/>
              <c:showVal val="1"/>
              <c:showCatName val="0"/>
              <c:showSerName val="0"/>
              <c:showPercent val="0"/>
              <c:showBubbleSize val="0"/>
            </c:dLbl>
            <c:dLbl>
              <c:idx val="3"/>
              <c:tx>
                <c:rich>
                  <a:bodyPr/>
                  <a:lstStyle/>
                  <a:p>
                    <a:r>
                      <a:t>81.69</a:t>
                    </a:r>
                  </a:p>
                </c:rich>
              </c:tx>
              <c:showLegendKey val="0"/>
              <c:showVal val="1"/>
              <c:showCatName val="0"/>
              <c:showSerName val="0"/>
              <c:showPercent val="0"/>
              <c:showBubbleSize val="0"/>
            </c:dLbl>
            <c:dLbl>
              <c:idx val="4"/>
              <c:tx>
                <c:rich>
                  <a:bodyPr/>
                  <a:lstStyle/>
                  <a:p>
                    <a:r>
                      <a:t>8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Others Fabricante Unif. Others Marca Unif. Sunscreen Adults Sport Crema 50+ 150Ml</c:v>
                </c:pt>
              </c:strCache>
            </c:strRef>
          </c:cat>
          <c:val>
            <c:numRef>
              <c:f>Sheet1!$B$2:$B$6</c:f>
              <c:numCache>
                <c:formatCode>General</c:formatCode>
                <c:ptCount val="5"/>
                <c:pt idx="0">
                  <c:v>281.61</c:v>
                </c:pt>
                <c:pt idx="1">
                  <c:v>296.2</c:v>
                </c:pt>
                <c:pt idx="2">
                  <c:v>93.47</c:v>
                </c:pt>
                <c:pt idx="3">
                  <c:v>81.69</c:v>
                </c:pt>
                <c:pt idx="4">
                  <c:v>8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29</a:t>
                    </a:r>
                  </a:p>
                </c:rich>
              </c:tx>
              <c:showLegendKey val="0"/>
              <c:showVal val="1"/>
              <c:showCatName val="0"/>
              <c:showSerName val="0"/>
              <c:showPercent val="0"/>
              <c:showBubbleSize val="0"/>
            </c:dLbl>
            <c:dLbl>
              <c:idx val="1"/>
              <c:tx>
                <c:rich>
                  <a:bodyPr/>
                  <a:lstStyle/>
                  <a:p>
                    <a:r>
                      <a:t>311.93</a:t>
                    </a:r>
                  </a:p>
                </c:rich>
              </c:tx>
              <c:showLegendKey val="0"/>
              <c:showVal val="1"/>
              <c:showCatName val="0"/>
              <c:showSerName val="0"/>
              <c:showPercent val="0"/>
              <c:showBubbleSize val="0"/>
            </c:dLbl>
            <c:dLbl>
              <c:idx val="2"/>
              <c:tx>
                <c:rich>
                  <a:bodyPr/>
                  <a:lstStyle/>
                  <a:p>
                    <a:r>
                      <a:t>324.32</a:t>
                    </a:r>
                  </a:p>
                </c:rich>
              </c:tx>
              <c:showLegendKey val="0"/>
              <c:showVal val="1"/>
              <c:showCatName val="0"/>
              <c:showSerName val="0"/>
              <c:showPercent val="0"/>
              <c:showBubbleSize val="0"/>
            </c:dLbl>
            <c:dLbl>
              <c:idx val="3"/>
              <c:tx>
                <c:rich>
                  <a:bodyPr/>
                  <a:lstStyle/>
                  <a:p>
                    <a:r>
                      <a:t>92.14</a:t>
                    </a:r>
                  </a:p>
                </c:rich>
              </c:tx>
              <c:showLegendKey val="0"/>
              <c:showVal val="1"/>
              <c:showCatName val="0"/>
              <c:showSerName val="0"/>
              <c:showPercent val="0"/>
              <c:showBubbleSize val="0"/>
            </c:dLbl>
            <c:dLbl>
              <c:idx val="4"/>
              <c:tx>
                <c:rich>
                  <a:bodyPr/>
                  <a:lstStyle/>
                  <a:p>
                    <a:r>
                      <a:t>288.11</a:t>
                    </a:r>
                  </a:p>
                </c:rich>
              </c:tx>
              <c:showLegendKey val="0"/>
              <c:showVal val="1"/>
              <c:showCatName val="0"/>
              <c:showSerName val="0"/>
              <c:showPercent val="0"/>
              <c:showBubbleSize val="0"/>
            </c:dLbl>
            <c:dLbl>
              <c:idx val="5"/>
              <c:tx>
                <c:rich>
                  <a:bodyPr/>
                  <a:lstStyle/>
                  <a:p>
                    <a:r>
                      <a:t>25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240Ml</c:v>
                </c:pt>
                <c:pt idx="1">
                  <c:v>Edgewell Banana Boat Dry Balance Sunscreen Adults Sport Spray Liquido 50 220Ml</c:v>
                </c:pt>
                <c:pt idx="2">
                  <c:v>Edgewell Hawaiian Tropic Island Sport Sunscreen Adults Sport Spray Liquido 50 220Ml</c:v>
                </c:pt>
                <c:pt idx="3">
                  <c:v>Edgewell Hawaiian Tropic Island Sport Sunscreen Adults Sport Liquido 50 60Ml</c:v>
                </c:pt>
                <c:pt idx="4">
                  <c:v>Edgewell Banana Boat Advanced Protection Sunscreen Adults Sport Spray Liquido 50+ 170Ml</c:v>
                </c:pt>
                <c:pt idx="5">
                  <c:v>Australian Gold Australian Gold Sunscreen Adults Sport Liquido 30 - 49 200Ml</c:v>
                </c:pt>
              </c:strCache>
            </c:strRef>
          </c:cat>
          <c:val>
            <c:numRef>
              <c:f>Sheet1!$B$2:$B$7</c:f>
              <c:numCache>
                <c:formatCode>General</c:formatCode>
                <c:ptCount val="6"/>
                <c:pt idx="0">
                  <c:v>305.29</c:v>
                </c:pt>
                <c:pt idx="1">
                  <c:v>311.93</c:v>
                </c:pt>
                <c:pt idx="2">
                  <c:v>324.32</c:v>
                </c:pt>
                <c:pt idx="3">
                  <c:v>92.14</c:v>
                </c:pt>
                <c:pt idx="4">
                  <c:v>288.11</c:v>
                </c:pt>
                <c:pt idx="5">
                  <c:v>25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3.66</a:t>
                    </a:r>
                  </a:p>
                </c:rich>
              </c:tx>
              <c:showLegendKey val="0"/>
              <c:showVal val="1"/>
              <c:showCatName val="0"/>
              <c:showSerName val="0"/>
              <c:showPercent val="0"/>
              <c:showBubbleSize val="0"/>
            </c:dLbl>
            <c:dLbl>
              <c:idx val="1"/>
              <c:tx>
                <c:rich>
                  <a:bodyPr/>
                  <a:lstStyle/>
                  <a:p>
                    <a:r>
                      <a:t>318.71</a:t>
                    </a:r>
                  </a:p>
                </c:rich>
              </c:tx>
              <c:showLegendKey val="0"/>
              <c:showVal val="1"/>
              <c:showCatName val="0"/>
              <c:showSerName val="0"/>
              <c:showPercent val="0"/>
              <c:showBubbleSize val="0"/>
            </c:dLbl>
            <c:dLbl>
              <c:idx val="2"/>
              <c:tx>
                <c:rich>
                  <a:bodyPr/>
                  <a:lstStyle/>
                  <a:p>
                    <a:r>
                      <a:t>89.08</a:t>
                    </a:r>
                  </a:p>
                </c:rich>
              </c:tx>
              <c:showLegendKey val="0"/>
              <c:showVal val="1"/>
              <c:showCatName val="0"/>
              <c:showSerName val="0"/>
              <c:showPercent val="0"/>
              <c:showBubbleSize val="0"/>
            </c:dLbl>
            <c:dLbl>
              <c:idx val="3"/>
              <c:tx>
                <c:rich>
                  <a:bodyPr/>
                  <a:lstStyle/>
                  <a:p>
                    <a:r>
                      <a:t>377.5</a:t>
                    </a:r>
                  </a:p>
                </c:rich>
              </c:tx>
              <c:showLegendKey val="0"/>
              <c:showVal val="1"/>
              <c:showCatName val="0"/>
              <c:showSerName val="0"/>
              <c:showPercent val="0"/>
              <c:showBubbleSize val="0"/>
            </c:dLbl>
            <c:dLbl>
              <c:idx val="4"/>
              <c:tx>
                <c:rich>
                  <a:bodyPr/>
                  <a:lstStyle/>
                  <a:p>
                    <a:r>
                      <a:t>303.18</a:t>
                    </a:r>
                  </a:p>
                </c:rich>
              </c:tx>
              <c:showLegendKey val="0"/>
              <c:showVal val="1"/>
              <c:showCatName val="0"/>
              <c:showSerName val="0"/>
              <c:showPercent val="0"/>
              <c:showBubbleSize val="0"/>
            </c:dLbl>
            <c:dLbl>
              <c:idx val="5"/>
              <c:tx>
                <c:rich>
                  <a:bodyPr/>
                  <a:lstStyle/>
                  <a:p>
                    <a:r>
                      <a:t>299.0</a:t>
                    </a:r>
                  </a:p>
                </c:rich>
              </c:tx>
              <c:showLegendKey val="0"/>
              <c:showVal val="1"/>
              <c:showCatName val="0"/>
              <c:showSerName val="0"/>
              <c:showPercent val="0"/>
              <c:showBubbleSize val="0"/>
            </c:dLbl>
            <c:dLbl>
              <c:idx val="6"/>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170Ml</c:v>
                </c:pt>
                <c:pt idx="1">
                  <c:v>Edgewell Banana Boat Mineral Sunscreen Adults Sport Locion 50 180Ml</c:v>
                </c:pt>
                <c:pt idx="2">
                  <c:v>Edgewell Banana Boat Dry Balance Sunscreen Adults Sport Locion 50+ 60Ml</c:v>
                </c:pt>
                <c:pt idx="3">
                  <c:v>Australian Gold Australian Gold Sunscreen Adults Sport Spray Locion 30 170Ml</c:v>
                </c:pt>
                <c:pt idx="4">
                  <c:v>Australian Gold Australian Gold Sunscreen Adults Sport Locion 30 237Ml</c:v>
                </c:pt>
                <c:pt idx="5">
                  <c:v>Others Fabricante Unif. Others Marca Unif. Sunscreen Adults Sport Spray Locion 50 200Ml</c:v>
                </c:pt>
                <c:pt idx="6">
                  <c:v>Others Fabricante Unif. Others Marca Unif. Sunscreen Adults Sport Spray Locion 50+ 100Ml</c:v>
                </c:pt>
              </c:strCache>
            </c:strRef>
          </c:cat>
          <c:val>
            <c:numRef>
              <c:f>Sheet1!$B$2:$B$8</c:f>
              <c:numCache>
                <c:formatCode>General</c:formatCode>
                <c:ptCount val="7"/>
                <c:pt idx="0">
                  <c:v>323.66</c:v>
                </c:pt>
                <c:pt idx="1">
                  <c:v>318.71</c:v>
                </c:pt>
                <c:pt idx="2">
                  <c:v>89.08</c:v>
                </c:pt>
                <c:pt idx="3">
                  <c:v>377.5</c:v>
                </c:pt>
                <c:pt idx="4">
                  <c:v>303.18</c:v>
                </c:pt>
                <c:pt idx="5">
                  <c:v>299.0</c:v>
                </c:pt>
                <c:pt idx="6">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3.5</a:t>
                    </a:r>
                  </a:p>
                </c:rich>
              </c:tx>
              <c:showLegendKey val="0"/>
              <c:showVal val="1"/>
              <c:showCatName val="0"/>
              <c:showSerName val="0"/>
              <c:showPercent val="0"/>
              <c:showBubbleSize val="0"/>
            </c:dLbl>
            <c:dLbl>
              <c:idx val="1"/>
              <c:tx>
                <c:rich>
                  <a:bodyPr/>
                  <a:lstStyle/>
                  <a:p>
                    <a:r>
                      <a:t>409.15</a:t>
                    </a:r>
                  </a:p>
                </c:rich>
              </c:tx>
              <c:showLegendKey val="0"/>
              <c:showVal val="1"/>
              <c:showCatName val="0"/>
              <c:showSerName val="0"/>
              <c:showPercent val="0"/>
              <c:showBubbleSize val="0"/>
            </c:dLbl>
            <c:dLbl>
              <c:idx val="2"/>
              <c:tx>
                <c:rich>
                  <a:bodyPr/>
                  <a:lstStyle/>
                  <a:p>
                    <a:r>
                      <a:t>335.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Dry Balance Sunscreen Adults Sport Spray 50+ 170Ml</c:v>
                </c:pt>
                <c:pt idx="1">
                  <c:v>Australian Gold Australian Gold Sunscreen Adults Sport Spray 50 170Ml</c:v>
                </c:pt>
                <c:pt idx="2">
                  <c:v>Sun &amp; Skin Care Research Ocean Potion Sunscreen Adults Sport Spray 50 156Ml</c:v>
                </c:pt>
              </c:strCache>
            </c:strRef>
          </c:cat>
          <c:val>
            <c:numRef>
              <c:f>Sheet1!$B$2:$B$4</c:f>
              <c:numCache>
                <c:formatCode>General</c:formatCode>
                <c:ptCount val="3"/>
                <c:pt idx="0">
                  <c:v>403.5</c:v>
                </c:pt>
                <c:pt idx="1">
                  <c:v>409.15</c:v>
                </c:pt>
                <c:pt idx="2">
                  <c:v>33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305.15</a:t>
                    </a:r>
                  </a:p>
                </c:rich>
              </c:tx>
              <c:showLegendKey val="0"/>
              <c:showVal val="1"/>
              <c:showCatName val="0"/>
              <c:showSerName val="0"/>
              <c:showPercent val="0"/>
              <c:showBubbleSize val="0"/>
            </c:dLbl>
            <c:dLbl>
              <c:idx val="3"/>
              <c:tx>
                <c:rich>
                  <a:bodyPr/>
                  <a:lstStyle/>
                  <a:p>
                    <a:r>
                      <a:t>325.25</a:t>
                    </a:r>
                  </a:p>
                </c:rich>
              </c:tx>
              <c:showLegendKey val="0"/>
              <c:showVal val="1"/>
              <c:showCatName val="0"/>
              <c:showSerName val="0"/>
              <c:showPercent val="0"/>
              <c:showBubbleSize val="0"/>
            </c:dLbl>
            <c:dLbl>
              <c:idx val="4"/>
              <c:tx>
                <c:rich>
                  <a:bodyPr/>
                  <a:lstStyle/>
                  <a:p>
                    <a:r>
                      <a:t>283.84</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2.7</c:v>
                </c:pt>
                <c:pt idx="1">
                  <c:v>301.59</c:v>
                </c:pt>
                <c:pt idx="2">
                  <c:v>305.15</c:v>
                </c:pt>
                <c:pt idx="3">
                  <c:v>325.25</c:v>
                </c:pt>
                <c:pt idx="4">
                  <c:v>283.84</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26.36</a:t>
                    </a:r>
                  </a:p>
                </c:rich>
              </c:tx>
              <c:showLegendKey val="0"/>
              <c:showVal val="1"/>
              <c:showCatName val="0"/>
              <c:showSerName val="0"/>
              <c:showPercent val="0"/>
              <c:showBubbleSize val="0"/>
            </c:dLbl>
            <c:dLbl>
              <c:idx val="2"/>
              <c:tx>
                <c:rich>
                  <a:bodyPr/>
                  <a:lstStyle/>
                  <a:p>
                    <a:r>
                      <a:t>283.77</a:t>
                    </a:r>
                  </a:p>
                </c:rich>
              </c:tx>
              <c:showLegendKey val="0"/>
              <c:showVal val="1"/>
              <c:showCatName val="0"/>
              <c:showSerName val="0"/>
              <c:showPercent val="0"/>
              <c:showBubbleSize val="0"/>
            </c:dLbl>
            <c:dLbl>
              <c:idx val="3"/>
              <c:tx>
                <c:rich>
                  <a:bodyPr/>
                  <a:lstStyle/>
                  <a:p>
                    <a:r>
                      <a:t>302.86</a:t>
                    </a:r>
                  </a:p>
                </c:rich>
              </c:tx>
              <c:showLegendKey val="0"/>
              <c:showVal val="1"/>
              <c:showCatName val="0"/>
              <c:showSerName val="0"/>
              <c:showPercent val="0"/>
              <c:showBubbleSize val="0"/>
            </c:dLbl>
            <c:dLbl>
              <c:idx val="4"/>
              <c:tx>
                <c:rich>
                  <a:bodyPr/>
                  <a:lstStyle/>
                  <a:p>
                    <a:r>
                      <a:t>307.23</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6.61</c:v>
                </c:pt>
                <c:pt idx="1">
                  <c:v>326.36</c:v>
                </c:pt>
                <c:pt idx="2">
                  <c:v>283.77</c:v>
                </c:pt>
                <c:pt idx="3">
                  <c:v>302.86</c:v>
                </c:pt>
                <c:pt idx="4">
                  <c:v>307.23</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42.81</c:v>
                </c:pt>
                <c:pt idx="1">
                  <c:v>280.19</c:v>
                </c:pt>
                <c:pt idx="2">
                  <c:v>230.57</c:v>
                </c:pt>
                <c:pt idx="3">
                  <c:v>238.78</c:v>
                </c:pt>
                <c:pt idx="4">
                  <c:v>406.0</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8.69</a:t>
                    </a:r>
                  </a:p>
                </c:rich>
              </c:tx>
              <c:showLegendKey val="0"/>
              <c:showVal val="1"/>
              <c:showCatName val="0"/>
              <c:showSerName val="0"/>
              <c:showPercent val="0"/>
              <c:showBubbleSize val="0"/>
            </c:dLbl>
            <c:dLbl>
              <c:idx val="3"/>
              <c:tx>
                <c:rich>
                  <a:bodyPr/>
                  <a:lstStyle/>
                  <a:p>
                    <a:r>
                      <a:t>334.03</a:t>
                    </a:r>
                  </a:p>
                </c:rich>
              </c:tx>
              <c:showLegendKey val="0"/>
              <c:showVal val="1"/>
              <c:showCatName val="0"/>
              <c:showSerName val="0"/>
              <c:showPercent val="0"/>
              <c:showBubbleSize val="0"/>
            </c:dLbl>
            <c:dLbl>
              <c:idx val="4"/>
              <c:tx>
                <c:rich>
                  <a:bodyPr/>
                  <a:lstStyle/>
                  <a:p>
                    <a:r>
                      <a:t>287.71</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74</c:v>
                </c:pt>
                <c:pt idx="1">
                  <c:v>306.84</c:v>
                </c:pt>
                <c:pt idx="2">
                  <c:v>308.69</c:v>
                </c:pt>
                <c:pt idx="3">
                  <c:v>334.03</c:v>
                </c:pt>
                <c:pt idx="4">
                  <c:v>287.71</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38.04</a:t>
                    </a:r>
                  </a:p>
                </c:rich>
              </c:tx>
              <c:showLegendKey val="0"/>
              <c:showVal val="1"/>
              <c:showCatName val="0"/>
              <c:showSerName val="0"/>
              <c:showPercent val="0"/>
              <c:showBubbleSize val="0"/>
            </c:dLbl>
            <c:dLbl>
              <c:idx val="2"/>
              <c:tx>
                <c:rich>
                  <a:bodyPr/>
                  <a:lstStyle/>
                  <a:p>
                    <a:r>
                      <a:t>290.72</a:t>
                    </a:r>
                  </a:p>
                </c:rich>
              </c:tx>
              <c:showLegendKey val="0"/>
              <c:showVal val="1"/>
              <c:showCatName val="0"/>
              <c:showSerName val="0"/>
              <c:showPercent val="0"/>
              <c:showBubbleSize val="0"/>
            </c:dLbl>
            <c:dLbl>
              <c:idx val="3"/>
              <c:tx>
                <c:rich>
                  <a:bodyPr/>
                  <a:lstStyle/>
                  <a:p>
                    <a:r>
                      <a:t>316.05</a:t>
                    </a:r>
                  </a:p>
                </c:rich>
              </c:tx>
              <c:showLegendKey val="0"/>
              <c:showVal val="1"/>
              <c:showCatName val="0"/>
              <c:showSerName val="0"/>
              <c:showPercent val="0"/>
              <c:showBubbleSize val="0"/>
            </c:dLbl>
            <c:dLbl>
              <c:idx val="4"/>
              <c:tx>
                <c:rich>
                  <a:bodyPr/>
                  <a:lstStyle/>
                  <a:p>
                    <a:r>
                      <a:t>310.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3.99</c:v>
                </c:pt>
                <c:pt idx="1">
                  <c:v>338.04</c:v>
                </c:pt>
                <c:pt idx="2">
                  <c:v>290.72</c:v>
                </c:pt>
                <c:pt idx="3">
                  <c:v>316.05</c:v>
                </c:pt>
                <c:pt idx="4">
                  <c:v>310.2</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69.3</c:v>
                </c:pt>
                <c:pt idx="1">
                  <c:v>282.37</c:v>
                </c:pt>
                <c:pt idx="2">
                  <c:v>258.13</c:v>
                </c:pt>
                <c:pt idx="3">
                  <c:v>242.37</c:v>
                </c:pt>
                <c:pt idx="4">
                  <c:v>400.18</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7.12</a:t>
                    </a:r>
                  </a:p>
                </c:rich>
              </c:tx>
              <c:showLegendKey val="0"/>
              <c:showVal val="1"/>
              <c:showCatName val="0"/>
              <c:showSerName val="0"/>
              <c:showPercent val="0"/>
              <c:showBubbleSize val="0"/>
            </c:dLbl>
            <c:dLbl>
              <c:idx val="3"/>
              <c:tx>
                <c:rich>
                  <a:bodyPr/>
                  <a:lstStyle/>
                  <a:p>
                    <a:r>
                      <a:t>330.0</a:t>
                    </a:r>
                  </a:p>
                </c:rich>
              </c:tx>
              <c:showLegendKey val="0"/>
              <c:showVal val="1"/>
              <c:showCatName val="0"/>
              <c:showSerName val="0"/>
              <c:showPercent val="0"/>
              <c:showBubbleSize val="0"/>
            </c:dLbl>
            <c:dLbl>
              <c:idx val="4"/>
              <c:tx>
                <c:rich>
                  <a:bodyPr/>
                  <a:lstStyle/>
                  <a:p>
                    <a:r>
                      <a:t>277.66</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05.33</c:v>
                </c:pt>
                <c:pt idx="1">
                  <c:v>318.53</c:v>
                </c:pt>
                <c:pt idx="2">
                  <c:v>347.12</c:v>
                </c:pt>
                <c:pt idx="3">
                  <c:v>330.0</c:v>
                </c:pt>
                <c:pt idx="4">
                  <c:v>277.66</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159.67</a:t>
                    </a:r>
                  </a:p>
                </c:rich>
              </c:tx>
              <c:showLegendKey val="0"/>
              <c:showVal val="1"/>
              <c:showCatName val="0"/>
              <c:showSerName val="0"/>
              <c:showPercent val="0"/>
              <c:showBubbleSize val="0"/>
            </c:dLbl>
            <c:dLbl>
              <c:idx val="2"/>
              <c:tx>
                <c:rich>
                  <a:bodyPr/>
                  <a:lstStyle/>
                  <a:p>
                    <a:r>
                      <a:t>339.06</a:t>
                    </a:r>
                  </a:p>
                </c:rich>
              </c:tx>
              <c:showLegendKey val="0"/>
              <c:showVal val="1"/>
              <c:showCatName val="0"/>
              <c:showSerName val="0"/>
              <c:showPercent val="0"/>
              <c:showBubbleSize val="0"/>
            </c:dLbl>
            <c:dLbl>
              <c:idx val="3"/>
              <c:tx>
                <c:rich>
                  <a:bodyPr/>
                  <a:lstStyle/>
                  <a:p>
                    <a:r>
                      <a:t>330.54</a:t>
                    </a:r>
                  </a:p>
                </c:rich>
              </c:tx>
              <c:showLegendKey val="0"/>
              <c:showVal val="1"/>
              <c:showCatName val="0"/>
              <c:showSerName val="0"/>
              <c:showPercent val="0"/>
              <c:showBubbleSize val="0"/>
            </c:dLbl>
            <c:dLbl>
              <c:idx val="4"/>
              <c:tx>
                <c:rich>
                  <a:bodyPr/>
                  <a:lstStyle/>
                  <a:p>
                    <a:r>
                      <a:t>329.19</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fter Sun After Sun Adults Cosmetics Gel 0 - 5 230Ml</c:v>
                </c:pt>
                <c:pt idx="2">
                  <c:v>Edgewell Banana Boat Aqua Protect Sunscreen Adults Cosmetics Spray Liquido 50+ 170Ml</c:v>
                </c:pt>
                <c:pt idx="3">
                  <c:v>Edgewell Banana Boat Advanced Protection Sunscreen Adults Cosmetics Liquido 50+ 240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8.86</c:v>
                </c:pt>
                <c:pt idx="1">
                  <c:v>159.67</c:v>
                </c:pt>
                <c:pt idx="2">
                  <c:v>339.06</c:v>
                </c:pt>
                <c:pt idx="3">
                  <c:v>330.54</c:v>
                </c:pt>
                <c:pt idx="4">
                  <c:v>329.19</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5.48</c:v>
                </c:pt>
                <c:pt idx="1">
                  <c:v>363.49</c:v>
                </c:pt>
                <c:pt idx="2">
                  <c:v>362.74</c:v>
                </c:pt>
                <c:pt idx="3">
                  <c:v>400.18</c:v>
                </c:pt>
                <c:pt idx="4">
                  <c:v>427.0</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220.0</a:t>
                    </a:r>
                  </a:p>
                </c:rich>
              </c:tx>
              <c:showLegendKey val="0"/>
              <c:showVal val="1"/>
              <c:showCatName val="0"/>
              <c:showSerName val="0"/>
              <c:showPercent val="0"/>
              <c:showBubbleSize val="0"/>
            </c:dLbl>
            <c:dLbl>
              <c:idx val="3"/>
              <c:tx>
                <c:rich>
                  <a:bodyPr/>
                  <a:lstStyle/>
                  <a:p>
                    <a:r>
                      <a:t>258.0</a:t>
                    </a:r>
                  </a:p>
                </c:rich>
              </c:tx>
              <c:showLegendKey val="0"/>
              <c:showVal val="1"/>
              <c:showCatName val="0"/>
              <c:showSerName val="0"/>
              <c:showPercent val="0"/>
              <c:showBubbleSize val="0"/>
            </c:dLbl>
            <c:dLbl>
              <c:idx val="4"/>
              <c:tx>
                <c:rich>
                  <a:bodyPr/>
                  <a:lstStyle/>
                  <a:p>
                    <a:r>
                      <a:t>133.0</a:t>
                    </a:r>
                  </a:p>
                </c:rich>
              </c:tx>
              <c:showLegendKey val="0"/>
              <c:showVal val="1"/>
              <c:showCatName val="0"/>
              <c:showSerName val="0"/>
              <c:showPercent val="0"/>
              <c:showBubbleSize val="0"/>
            </c:dLbl>
            <c:dLbl>
              <c:idx val="5"/>
              <c:tx>
                <c:rich>
                  <a:bodyPr/>
                  <a:lstStyle/>
                  <a:p>
                    <a:r>
                      <a:t>453.61</a:t>
                    </a:r>
                  </a:p>
                </c:rich>
              </c:tx>
              <c:showLegendKey val="0"/>
              <c:showVal val="1"/>
              <c:showCatName val="0"/>
              <c:showSerName val="0"/>
              <c:showPercent val="0"/>
              <c:showBubbleSize val="0"/>
            </c:dLbl>
            <c:dLbl>
              <c:idx val="6"/>
              <c:tx>
                <c:rich>
                  <a:bodyPr/>
                  <a:lstStyle/>
                  <a:p>
                    <a:r>
                      <a:t>450.0</a:t>
                    </a:r>
                  </a:p>
                </c:rich>
              </c:tx>
              <c:showLegendKey val="0"/>
              <c:showVal val="1"/>
              <c:showCatName val="0"/>
              <c:showSerName val="0"/>
              <c:showPercent val="0"/>
              <c:showBubbleSize val="0"/>
            </c:dLbl>
            <c:dLbl>
              <c:idx val="7"/>
              <c:tx>
                <c:rich>
                  <a:bodyPr/>
                  <a:lstStyle/>
                  <a:p>
                    <a:r>
                      <a:t>188.63</a:t>
                    </a:r>
                  </a:p>
                </c:rich>
              </c:tx>
              <c:showLegendKey val="0"/>
              <c:showVal val="1"/>
              <c:showCatName val="0"/>
              <c:showSerName val="0"/>
              <c:showPercent val="0"/>
              <c:showBubbleSize val="0"/>
            </c:dLbl>
            <c:dLbl>
              <c:idx val="8"/>
              <c:tx>
                <c:rich>
                  <a:bodyPr/>
                  <a:lstStyle/>
                  <a:p>
                    <a:r>
                      <a:t>294.01</a:t>
                    </a:r>
                  </a:p>
                </c:rich>
              </c:tx>
              <c:showLegendKey val="0"/>
              <c:showVal val="1"/>
              <c:showCatName val="0"/>
              <c:showSerName val="0"/>
              <c:showPercent val="0"/>
              <c:showBubbleSize val="0"/>
            </c:dLbl>
            <c:dLbl>
              <c:idx val="9"/>
              <c:tx>
                <c:rich>
                  <a:bodyPr/>
                  <a:lstStyle/>
                  <a:p>
                    <a:r>
                      <a:t>232.54</a:t>
                    </a:r>
                  </a:p>
                </c:rich>
              </c:tx>
              <c:showLegendKey val="0"/>
              <c:showVal val="1"/>
              <c:showCatName val="0"/>
              <c:showSerName val="0"/>
              <c:showPercent val="0"/>
              <c:showBubbleSize val="0"/>
            </c:dLbl>
            <c:dLbl>
              <c:idx val="10"/>
              <c:tx>
                <c:rich>
                  <a:bodyPr/>
                  <a:lstStyle/>
                  <a:p>
                    <a:r>
                      <a:t>295.0</a:t>
                    </a:r>
                  </a:p>
                </c:rich>
              </c:tx>
              <c:showLegendKey val="0"/>
              <c:showVal val="1"/>
              <c:showCatName val="0"/>
              <c:showSerName val="0"/>
              <c:showPercent val="0"/>
              <c:showBubbleSize val="0"/>
            </c:dLbl>
            <c:dLbl>
              <c:idx val="11"/>
              <c:tx>
                <c:rich>
                  <a:bodyPr/>
                  <a:lstStyle/>
                  <a:p>
                    <a:r>
                      <a:t>362.53</a:t>
                    </a:r>
                  </a:p>
                </c:rich>
              </c:tx>
              <c:showLegendKey val="0"/>
              <c:showVal val="1"/>
              <c:showCatName val="0"/>
              <c:showSerName val="0"/>
              <c:showPercent val="0"/>
              <c:showBubbleSize val="0"/>
            </c:dLbl>
            <c:dLbl>
              <c:idx val="12"/>
              <c:tx>
                <c:rich>
                  <a:bodyPr/>
                  <a:lstStyle/>
                  <a:p>
                    <a:r>
                      <a:t>156.91</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8</a:t>
                    </a:r>
                  </a:p>
                </c:rich>
              </c:tx>
              <c:showLegendKey val="0"/>
              <c:showVal val="1"/>
              <c:showCatName val="0"/>
              <c:showSerName val="0"/>
              <c:showPercent val="0"/>
              <c:showBubbleSize val="0"/>
            </c:dLbl>
            <c:dLbl>
              <c:idx val="15"/>
              <c:tx>
                <c:rich>
                  <a:bodyPr/>
                  <a:lstStyle/>
                  <a:p>
                    <a:r>
                      <a:t>155.07</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pt idx="5">
                  <c:v>Isdin Isdin Sunscreen Adults Derma Crema 50 50Ml</c:v>
                </c:pt>
                <c:pt idx="6">
                  <c:v>Isdin Isdin Sunscreen Adults Derma Crema 50+ 50Ml</c:v>
                </c:pt>
                <c:pt idx="7">
                  <c:v>Beiersdorf Nivea Sunscreen Adults Cosmetics Liquido 50+ 125Ml</c:v>
                </c:pt>
                <c:pt idx="8">
                  <c:v>Beiersdorf Nivea Sunscreen Adults Cosmetics Crema 50+ 200Ml</c:v>
                </c:pt>
                <c:pt idx="9">
                  <c:v>Beiersdorf Nivea Sunscreen Adults Cosmetics Crema 50 50Ml</c:v>
                </c:pt>
                <c:pt idx="10">
                  <c:v>Beiersdorf Nivea Sunscreen Kids Cosmetics Liquido 50+ 200Ml</c:v>
                </c:pt>
                <c:pt idx="11">
                  <c:v>Beiersdorf Nivea Sunscreen Adults Cosmetics Spray Liquido 50 20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220.0</c:v>
                </c:pt>
                <c:pt idx="3">
                  <c:v>258.0</c:v>
                </c:pt>
                <c:pt idx="4">
                  <c:v>133.0</c:v>
                </c:pt>
                <c:pt idx="5">
                  <c:v>453.61</c:v>
                </c:pt>
                <c:pt idx="6">
                  <c:v>450.0</c:v>
                </c:pt>
                <c:pt idx="7">
                  <c:v>188.63</c:v>
                </c:pt>
                <c:pt idx="8">
                  <c:v>294.01</c:v>
                </c:pt>
                <c:pt idx="9">
                  <c:v>232.54</c:v>
                </c:pt>
                <c:pt idx="10">
                  <c:v>295.0</c:v>
                </c:pt>
                <c:pt idx="11">
                  <c:v>362.53</c:v>
                </c:pt>
                <c:pt idx="12">
                  <c:v>156.91</c:v>
                </c:pt>
                <c:pt idx="13">
                  <c:v>118.11</c:v>
                </c:pt>
                <c:pt idx="14">
                  <c:v>178.8</c:v>
                </c:pt>
                <c:pt idx="15">
                  <c:v>155.07</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234.59</a:t>
                    </a:r>
                  </a:p>
                </c:rich>
              </c:tx>
              <c:showLegendKey val="0"/>
              <c:showVal val="1"/>
              <c:showCatName val="0"/>
              <c:showSerName val="0"/>
              <c:showPercent val="0"/>
              <c:showBubbleSize val="0"/>
            </c:dLbl>
            <c:dLbl>
              <c:idx val="2"/>
              <c:tx>
                <c:rich>
                  <a:bodyPr/>
                  <a:lstStyle/>
                  <a:p>
                    <a:r>
                      <a:t>205.93</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453.61</a:t>
                    </a:r>
                  </a:p>
                </c:rich>
              </c:tx>
              <c:showLegendKey val="0"/>
              <c:showVal val="1"/>
              <c:showCatName val="0"/>
              <c:showSerName val="0"/>
              <c:showPercent val="0"/>
              <c:showBubbleSize val="0"/>
            </c:dLbl>
            <c:dLbl>
              <c:idx val="5"/>
              <c:tx>
                <c:rich>
                  <a:bodyPr/>
                  <a:lstStyle/>
                  <a:p>
                    <a:r>
                      <a:t>450.0</a:t>
                    </a:r>
                  </a:p>
                </c:rich>
              </c:tx>
              <c:showLegendKey val="0"/>
              <c:showVal val="1"/>
              <c:showCatName val="0"/>
              <c:showSerName val="0"/>
              <c:showPercent val="0"/>
              <c:showBubbleSize val="0"/>
            </c:dLbl>
            <c:dLbl>
              <c:idx val="6"/>
              <c:tx>
                <c:rich>
                  <a:bodyPr/>
                  <a:lstStyle/>
                  <a:p>
                    <a:r>
                      <a:t>188.63</a:t>
                    </a:r>
                  </a:p>
                </c:rich>
              </c:tx>
              <c:showLegendKey val="0"/>
              <c:showVal val="1"/>
              <c:showCatName val="0"/>
              <c:showSerName val="0"/>
              <c:showPercent val="0"/>
              <c:showBubbleSize val="0"/>
            </c:dLbl>
            <c:dLbl>
              <c:idx val="7"/>
              <c:tx>
                <c:rich>
                  <a:bodyPr/>
                  <a:lstStyle/>
                  <a:p>
                    <a:r>
                      <a:t>294.01</a:t>
                    </a:r>
                  </a:p>
                </c:rich>
              </c:tx>
              <c:showLegendKey val="0"/>
              <c:showVal val="1"/>
              <c:showCatName val="0"/>
              <c:showSerName val="0"/>
              <c:showPercent val="0"/>
              <c:showBubbleSize val="0"/>
            </c:dLbl>
            <c:dLbl>
              <c:idx val="8"/>
              <c:tx>
                <c:rich>
                  <a:bodyPr/>
                  <a:lstStyle/>
                  <a:p>
                    <a:r>
                      <a:t>232.54</a:t>
                    </a:r>
                  </a:p>
                </c:rich>
              </c:tx>
              <c:showLegendKey val="0"/>
              <c:showVal val="1"/>
              <c:showCatName val="0"/>
              <c:showSerName val="0"/>
              <c:showPercent val="0"/>
              <c:showBubbleSize val="0"/>
            </c:dLbl>
            <c:dLbl>
              <c:idx val="9"/>
              <c:tx>
                <c:rich>
                  <a:bodyPr/>
                  <a:lstStyle/>
                  <a:p>
                    <a:r>
                      <a:t>295.0</a:t>
                    </a:r>
                  </a:p>
                </c:rich>
              </c:tx>
              <c:showLegendKey val="0"/>
              <c:showVal val="1"/>
              <c:showCatName val="0"/>
              <c:showSerName val="0"/>
              <c:showPercent val="0"/>
              <c:showBubbleSize val="0"/>
            </c:dLbl>
            <c:dLbl>
              <c:idx val="10"/>
              <c:tx>
                <c:rich>
                  <a:bodyPr/>
                  <a:lstStyle/>
                  <a:p>
                    <a:r>
                      <a:t>362.53</a:t>
                    </a:r>
                  </a:p>
                </c:rich>
              </c:tx>
              <c:showLegendKey val="0"/>
              <c:showVal val="1"/>
              <c:showCatName val="0"/>
              <c:showSerName val="0"/>
              <c:showPercent val="0"/>
              <c:showBubbleSize val="0"/>
            </c:dLbl>
            <c:dLbl>
              <c:idx val="11"/>
              <c:tx>
                <c:rich>
                  <a:bodyPr/>
                  <a:lstStyle/>
                  <a:p>
                    <a:r>
                      <a:t>156.91</a:t>
                    </a:r>
                  </a:p>
                </c:rich>
              </c:tx>
              <c:showLegendKey val="0"/>
              <c:showVal val="1"/>
              <c:showCatName val="0"/>
              <c:showSerName val="0"/>
              <c:showPercent val="0"/>
              <c:showBubbleSize val="0"/>
            </c:dLbl>
            <c:dLbl>
              <c:idx val="12"/>
              <c:tx>
                <c:rich>
                  <a:bodyPr/>
                  <a:lstStyle/>
                  <a:p>
                    <a:r>
                      <a:t>118.11</a:t>
                    </a:r>
                  </a:p>
                </c:rich>
              </c:tx>
              <c:showLegendKey val="0"/>
              <c:showVal val="1"/>
              <c:showCatName val="0"/>
              <c:showSerName val="0"/>
              <c:showPercent val="0"/>
              <c:showBubbleSize val="0"/>
            </c:dLbl>
            <c:dLbl>
              <c:idx val="13"/>
              <c:tx>
                <c:rich>
                  <a:bodyPr/>
                  <a:lstStyle/>
                  <a:p>
                    <a:r>
                      <a:t>178.8</a:t>
                    </a:r>
                  </a:p>
                </c:rich>
              </c:tx>
              <c:showLegendKey val="0"/>
              <c:showVal val="1"/>
              <c:showCatName val="0"/>
              <c:showSerName val="0"/>
              <c:showPercent val="0"/>
              <c:showBubbleSize val="0"/>
            </c:dLbl>
            <c:dLbl>
              <c:idx val="14"/>
              <c:tx>
                <c:rich>
                  <a:bodyPr/>
                  <a:lstStyle/>
                  <a:p>
                    <a:r>
                      <a:t>155.07</a:t>
                    </a:r>
                  </a:p>
                </c:rich>
              </c:tx>
              <c:showLegendKey val="0"/>
              <c:showVal val="1"/>
              <c:showCatName val="0"/>
              <c:showSerName val="0"/>
              <c:showPercent val="0"/>
              <c:showBubbleSize val="0"/>
            </c:dLbl>
            <c:dLbl>
              <c:idx val="15"/>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pt idx="4">
                  <c:v>Isdin Isdin Sunscreen Adults Derma Crema 50 50Ml</c:v>
                </c:pt>
                <c:pt idx="5">
                  <c:v>Isdin Isdin Sunscreen Adults Derma Crema 50+ 50Ml</c:v>
                </c:pt>
                <c:pt idx="6">
                  <c:v>Beiersdorf Nivea Sunscreen Adults Cosmetics Liquido 50+ 125Ml</c:v>
                </c:pt>
                <c:pt idx="7">
                  <c:v>Beiersdorf Nivea Sunscreen Adults Cosmetics Crema 50+ 200Ml</c:v>
                </c:pt>
                <c:pt idx="8">
                  <c:v>Beiersdorf Nivea Sunscreen Adults Cosmetics Crema 50 50Ml</c:v>
                </c:pt>
                <c:pt idx="9">
                  <c:v>Beiersdorf Nivea Sunscreen Kids Cosmetics Liquido 50+ 200Ml</c:v>
                </c:pt>
                <c:pt idx="10">
                  <c:v>Beiersdorf Nivea Sunscreen Adults Cosmetics Spray Liquido 50 200Ml</c:v>
                </c:pt>
                <c:pt idx="11">
                  <c:v>Others Fabricante Unif. Others Marca Unif. Sunscreen Adults Cosmetics Crema 50+ 125Ml</c:v>
                </c:pt>
                <c:pt idx="12">
                  <c:v>Others Fabricante Unif. Others Marca Unif. Sunscreen Adults Cosmetics Crema 50 100Ml</c:v>
                </c:pt>
                <c:pt idx="13">
                  <c:v>Others Fabricante Unif. Others Marca Unif. Sunscreen Adults Derma Crema 50+ 125Ml</c:v>
                </c:pt>
                <c:pt idx="14">
                  <c:v>Others Fabricante Unif. Others Marca Unif. Sunscreen Kids Derma Crema 50+ 125Ml</c:v>
                </c:pt>
                <c:pt idx="15">
                  <c:v>Others Fabricante Unif. Others Marca Unif. Sunscreen Adults Cosmetics Spray 50+ 170Ml</c:v>
                </c:pt>
              </c:strCache>
            </c:strRef>
          </c:cat>
          <c:val>
            <c:numRef>
              <c:f>Sheet1!$B$2:$B$17</c:f>
              <c:numCache>
                <c:formatCode>General</c:formatCode>
                <c:ptCount val="16"/>
                <c:pt idx="0">
                  <c:v>96.8</c:v>
                </c:pt>
                <c:pt idx="1">
                  <c:v>234.59</c:v>
                </c:pt>
                <c:pt idx="2">
                  <c:v>205.93</c:v>
                </c:pt>
                <c:pt idx="3">
                  <c:v>125.0</c:v>
                </c:pt>
                <c:pt idx="4">
                  <c:v>453.61</c:v>
                </c:pt>
                <c:pt idx="5">
                  <c:v>450.0</c:v>
                </c:pt>
                <c:pt idx="6">
                  <c:v>188.63</c:v>
                </c:pt>
                <c:pt idx="7">
                  <c:v>294.01</c:v>
                </c:pt>
                <c:pt idx="8">
                  <c:v>232.54</c:v>
                </c:pt>
                <c:pt idx="9">
                  <c:v>295.0</c:v>
                </c:pt>
                <c:pt idx="10">
                  <c:v>362.53</c:v>
                </c:pt>
                <c:pt idx="11">
                  <c:v>156.91</c:v>
                </c:pt>
                <c:pt idx="12">
                  <c:v>118.11</c:v>
                </c:pt>
                <c:pt idx="13">
                  <c:v>178.8</c:v>
                </c:pt>
                <c:pt idx="14">
                  <c:v>155.07</c:v>
                </c:pt>
                <c:pt idx="15">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72</a:t>
                    </a:r>
                  </a:p>
                </c:rich>
              </c:tx>
              <c:dLblPos val="t"/>
              <c:showLegendKey val="0"/>
              <c:showVal val="1"/>
              <c:showCatName val="0"/>
              <c:showSerName val="0"/>
              <c:showPercent val="0"/>
              <c:showBubbleSize val="0"/>
            </c:dLbl>
            <c:dLbl>
              <c:idx val="1"/>
              <c:tx>
                <c:rich>
                  <a:bodyPr/>
                  <a:lstStyle/>
                  <a:p>
                    <a:r>
                      <a:t>286.89</a:t>
                    </a:r>
                  </a:p>
                </c:rich>
              </c:tx>
              <c:dLblPos val="t"/>
              <c:showLegendKey val="0"/>
              <c:showVal val="1"/>
              <c:showCatName val="0"/>
              <c:showSerName val="0"/>
              <c:showPercent val="0"/>
              <c:showBubbleSize val="0"/>
            </c:dLbl>
            <c:dLbl>
              <c:idx val="2"/>
              <c:tx>
                <c:rich>
                  <a:bodyPr/>
                  <a:lstStyle/>
                  <a:p>
                    <a:r>
                      <a:t>286.0</a:t>
                    </a:r>
                  </a:p>
                </c:rich>
              </c:tx>
              <c:dLblPos val="t"/>
              <c:showLegendKey val="0"/>
              <c:showVal val="1"/>
              <c:showCatName val="0"/>
              <c:showSerName val="0"/>
              <c:showPercent val="0"/>
              <c:showBubbleSize val="0"/>
            </c:dLbl>
            <c:dLbl>
              <c:idx val="3"/>
              <c:tx>
                <c:rich>
                  <a:bodyPr/>
                  <a:lstStyle/>
                  <a:p>
                    <a:r>
                      <a:t>312.34</a:t>
                    </a:r>
                  </a:p>
                </c:rich>
              </c:tx>
              <c:dLblPos val="t"/>
              <c:showLegendKey val="0"/>
              <c:showVal val="1"/>
              <c:showCatName val="0"/>
              <c:showSerName val="0"/>
              <c:showPercent val="0"/>
              <c:showBubbleSize val="0"/>
            </c:dLbl>
            <c:dLbl>
              <c:idx val="4"/>
              <c:tx>
                <c:rich>
                  <a:bodyPr/>
                  <a:lstStyle/>
                  <a:p>
                    <a:r>
                      <a:t>294.17</a:t>
                    </a:r>
                  </a:p>
                </c:rich>
              </c:tx>
              <c:dLblPos val="t"/>
              <c:showLegendKey val="0"/>
              <c:showVal val="1"/>
              <c:showCatName val="0"/>
              <c:showSerName val="0"/>
              <c:showPercent val="0"/>
              <c:showBubbleSize val="0"/>
            </c:dLbl>
            <c:dLbl>
              <c:idx val="5"/>
              <c:tx>
                <c:rich>
                  <a:bodyPr/>
                  <a:lstStyle/>
                  <a:p>
                    <a:r>
                      <a:t>104.39</a:t>
                    </a:r>
                  </a:p>
                </c:rich>
              </c:tx>
              <c:dLblPos val="t"/>
              <c:showLegendKey val="0"/>
              <c:showVal val="1"/>
              <c:showCatName val="0"/>
              <c:showSerName val="0"/>
              <c:showPercent val="0"/>
              <c:showBubbleSize val="0"/>
            </c:dLbl>
            <c:dLbl>
              <c:idx val="6"/>
              <c:tx>
                <c:rich>
                  <a:bodyPr/>
                  <a:lstStyle/>
                  <a:p>
                    <a:r>
                      <a:t>184.24</a:t>
                    </a:r>
                  </a:p>
                </c:rich>
              </c:tx>
              <c:dLblPos val="t"/>
              <c:showLegendKey val="0"/>
              <c:showVal val="1"/>
              <c:showCatName val="0"/>
              <c:showSerName val="0"/>
              <c:showPercent val="0"/>
              <c:showBubbleSize val="0"/>
            </c:dLbl>
            <c:dLbl>
              <c:idx val="7"/>
              <c:tx>
                <c:rich>
                  <a:bodyPr/>
                  <a:lstStyle/>
                  <a:p>
                    <a:r>
                      <a:t>274.3</a:t>
                    </a:r>
                  </a:p>
                </c:rich>
              </c:tx>
              <c:dLblPos val="t"/>
              <c:showLegendKey val="0"/>
              <c:showVal val="1"/>
              <c:showCatName val="0"/>
              <c:showSerName val="0"/>
              <c:showPercent val="0"/>
              <c:showBubbleSize val="0"/>
            </c:dLbl>
            <c:dLbl>
              <c:idx val="8"/>
              <c:tx>
                <c:rich>
                  <a:bodyPr/>
                  <a:lstStyle/>
                  <a:p>
                    <a:r>
                      <a:t>290.86</a:t>
                    </a:r>
                  </a:p>
                </c:rich>
              </c:tx>
              <c:dLblPos val="t"/>
              <c:showLegendKey val="0"/>
              <c:showVal val="1"/>
              <c:showCatName val="0"/>
              <c:showSerName val="0"/>
              <c:showPercent val="0"/>
              <c:showBubbleSize val="0"/>
            </c:dLbl>
            <c:dLbl>
              <c:idx val="9"/>
              <c:tx>
                <c:rich>
                  <a:bodyPr/>
                  <a:lstStyle/>
                  <a:p>
                    <a:r>
                      <a:t>92.37</a:t>
                    </a:r>
                  </a:p>
                </c:rich>
              </c:tx>
              <c:dLblPos val="t"/>
              <c:showLegendKey val="0"/>
              <c:showVal val="1"/>
              <c:showCatName val="0"/>
              <c:showSerName val="0"/>
              <c:showPercent val="0"/>
              <c:showBubbleSize val="0"/>
            </c:dLbl>
            <c:dLbl>
              <c:idx val="10"/>
              <c:tx>
                <c:rich>
                  <a:bodyPr/>
                  <a:lstStyle/>
                  <a:p>
                    <a:r>
                      <a:t>282.91</a:t>
                    </a:r>
                  </a:p>
                </c:rich>
              </c:tx>
              <c:dLblPos val="t"/>
              <c:showLegendKey val="0"/>
              <c:showVal val="1"/>
              <c:showCatName val="0"/>
              <c:showSerName val="0"/>
              <c:showPercent val="0"/>
              <c:showBubbleSize val="0"/>
            </c:dLbl>
            <c:dLbl>
              <c:idx val="11"/>
              <c:tx>
                <c:rich>
                  <a:bodyPr/>
                  <a:lstStyle/>
                  <a:p>
                    <a:r>
                      <a:t>294.84</a:t>
                    </a:r>
                  </a:p>
                </c:rich>
              </c:tx>
              <c:dLblPos val="t"/>
              <c:showLegendKey val="0"/>
              <c:showVal val="1"/>
              <c:showCatName val="0"/>
              <c:showSerName val="0"/>
              <c:showPercent val="0"/>
              <c:showBubbleSize val="0"/>
            </c:dLbl>
            <c:dLbl>
              <c:idx val="12"/>
              <c:tx>
                <c:rich>
                  <a:bodyPr/>
                  <a:lstStyle/>
                  <a:p>
                    <a:r>
                      <a:t>287.44</a:t>
                    </a:r>
                  </a:p>
                </c:rich>
              </c:tx>
              <c:dLblPos val="t"/>
              <c:showLegendKey val="0"/>
              <c:showVal val="1"/>
              <c:showCatName val="0"/>
              <c:showSerName val="0"/>
              <c:showPercent val="0"/>
              <c:showBubbleSize val="0"/>
            </c:dLbl>
            <c:dLbl>
              <c:idx val="13"/>
              <c:tx>
                <c:rich>
                  <a:bodyPr/>
                  <a:lstStyle/>
                  <a:p>
                    <a:r>
                      <a:t>278.95</a:t>
                    </a:r>
                  </a:p>
                </c:rich>
              </c:tx>
              <c:dLblPos val="t"/>
              <c:showLegendKey val="0"/>
              <c:showVal val="1"/>
              <c:showCatName val="0"/>
              <c:showSerName val="0"/>
              <c:showPercent val="0"/>
              <c:showBubbleSize val="0"/>
            </c:dLbl>
            <c:dLbl>
              <c:idx val="14"/>
              <c:tx>
                <c:rich>
                  <a:bodyPr/>
                  <a:lstStyle/>
                  <a:p>
                    <a:r>
                      <a:t>181.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Ozono Sunscreen Adults Cosmetics Liquido 50+ 90Ml</c:v>
                </c:pt>
                <c:pt idx="6">
                  <c:v>Edgewell Hawaiian Tropic Sheer Touch Sunscreen Adults Cosmetics Crema 50 120Ml</c:v>
                </c:pt>
                <c:pt idx="7">
                  <c:v>Edgewell Hawaiian Tropic Sheer Touch Sunscreen Adults Cosmetics Crema 30 - 49 240Ml</c:v>
                </c:pt>
                <c:pt idx="8">
                  <c:v>Edgewell Hawaiian Tropic Silk Hydration Sunscreen Adults Cosmetics Liquido 50 180Ml</c:v>
                </c:pt>
                <c:pt idx="9">
                  <c:v>Edgewell Hawaiian Tropic Island Sport Sunscreen Adults Sport Liquido 50 60Ml</c:v>
                </c:pt>
                <c:pt idx="10">
                  <c:v>Edgewell Hawaiian Tropic Tanning Sunscreen Adults Cosmetics Spray Liquido 15 - 19 2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9.72</c:v>
                </c:pt>
                <c:pt idx="1">
                  <c:v>286.89</c:v>
                </c:pt>
                <c:pt idx="2">
                  <c:v>286.0</c:v>
                </c:pt>
                <c:pt idx="3">
                  <c:v>312.34</c:v>
                </c:pt>
                <c:pt idx="4">
                  <c:v>294.17</c:v>
                </c:pt>
                <c:pt idx="5">
                  <c:v>104.39</c:v>
                </c:pt>
                <c:pt idx="6">
                  <c:v>184.24</c:v>
                </c:pt>
                <c:pt idx="7">
                  <c:v>274.3</c:v>
                </c:pt>
                <c:pt idx="8">
                  <c:v>290.86</c:v>
                </c:pt>
                <c:pt idx="9">
                  <c:v>92.37</c:v>
                </c:pt>
                <c:pt idx="10">
                  <c:v>282.91</c:v>
                </c:pt>
                <c:pt idx="11">
                  <c:v>294.84</c:v>
                </c:pt>
                <c:pt idx="12">
                  <c:v>287.44</c:v>
                </c:pt>
                <c:pt idx="13">
                  <c:v>278.95</c:v>
                </c:pt>
                <c:pt idx="14">
                  <c:v>181.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56</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6</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2</c:v>
                </c:pt>
                <c:pt idx="1">
                  <c:v>312.14</c:v>
                </c:pt>
                <c:pt idx="2">
                  <c:v>305.29</c:v>
                </c:pt>
                <c:pt idx="3">
                  <c:v>189.54</c:v>
                </c:pt>
                <c:pt idx="4">
                  <c:v>101.15</c:v>
                </c:pt>
                <c:pt idx="5">
                  <c:v>653.87</c:v>
                </c:pt>
                <c:pt idx="6">
                  <c:v>648.13</c:v>
                </c:pt>
                <c:pt idx="7">
                  <c:v>660.8</c:v>
                </c:pt>
                <c:pt idx="8">
                  <c:v>645.56</c:v>
                </c:pt>
                <c:pt idx="9">
                  <c:v>464.7</c:v>
                </c:pt>
                <c:pt idx="10">
                  <c:v>379.06</c:v>
                </c:pt>
                <c:pt idx="11">
                  <c:v>364.11</c:v>
                </c:pt>
                <c:pt idx="12">
                  <c:v>268.43</c:v>
                </c:pt>
                <c:pt idx="13">
                  <c:v>463.05</c:v>
                </c:pt>
                <c:pt idx="14">
                  <c:v>397.59</c:v>
                </c:pt>
                <c:pt idx="15">
                  <c:v>305.54</c:v>
                </c:pt>
                <c:pt idx="16">
                  <c:v>271.17</c:v>
                </c:pt>
                <c:pt idx="17">
                  <c:v>300.66</c:v>
                </c:pt>
                <c:pt idx="18">
                  <c:v>305.45</c:v>
                </c:pt>
                <c:pt idx="19">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56</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6</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56</c:v>
                </c:pt>
                <c:pt idx="9">
                  <c:v>464.7</c:v>
                </c:pt>
                <c:pt idx="10">
                  <c:v>379.06</c:v>
                </c:pt>
                <c:pt idx="11">
                  <c:v>364.11</c:v>
                </c:pt>
                <c:pt idx="12">
                  <c:v>268.43</c:v>
                </c:pt>
                <c:pt idx="13">
                  <c:v>463.05</c:v>
                </c:pt>
                <c:pt idx="14">
                  <c:v>397.59</c:v>
                </c:pt>
                <c:pt idx="15">
                  <c:v>305.54</c:v>
                </c:pt>
                <c:pt idx="16">
                  <c:v>271.17</c:v>
                </c:pt>
                <c:pt idx="17">
                  <c:v>300.66</c:v>
                </c:pt>
                <c:pt idx="18">
                  <c:v>305.45</c:v>
                </c:pt>
                <c:pt idx="19">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56</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6</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56</c:v>
                </c:pt>
                <c:pt idx="8">
                  <c:v>464.7</c:v>
                </c:pt>
                <c:pt idx="9">
                  <c:v>379.06</c:v>
                </c:pt>
                <c:pt idx="10">
                  <c:v>364.11</c:v>
                </c:pt>
                <c:pt idx="11">
                  <c:v>268.43</c:v>
                </c:pt>
                <c:pt idx="12">
                  <c:v>463.05</c:v>
                </c:pt>
                <c:pt idx="13">
                  <c:v>397.59</c:v>
                </c:pt>
                <c:pt idx="14">
                  <c:v>305.54</c:v>
                </c:pt>
                <c:pt idx="15">
                  <c:v>271.17</c:v>
                </c:pt>
                <c:pt idx="16">
                  <c:v>300.66</c:v>
                </c:pt>
                <c:pt idx="17">
                  <c:v>305.45</c:v>
                </c:pt>
                <c:pt idx="18">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305.15</a:t>
                    </a:r>
                  </a:p>
                </c:rich>
              </c:tx>
              <c:showLegendKey val="0"/>
              <c:showVal val="1"/>
              <c:showCatName val="0"/>
              <c:showSerName val="0"/>
              <c:showPercent val="0"/>
              <c:showBubbleSize val="0"/>
            </c:dLbl>
            <c:dLbl>
              <c:idx val="3"/>
              <c:tx>
                <c:rich>
                  <a:bodyPr/>
                  <a:lstStyle/>
                  <a:p>
                    <a:r>
                      <a:t>325.25</a:t>
                    </a:r>
                  </a:p>
                </c:rich>
              </c:tx>
              <c:showLegendKey val="0"/>
              <c:showVal val="1"/>
              <c:showCatName val="0"/>
              <c:showSerName val="0"/>
              <c:showPercent val="0"/>
              <c:showBubbleSize val="0"/>
            </c:dLbl>
            <c:dLbl>
              <c:idx val="4"/>
              <c:tx>
                <c:rich>
                  <a:bodyPr/>
                  <a:lstStyle/>
                  <a:p>
                    <a:r>
                      <a:t>311.89</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2.7</c:v>
                </c:pt>
                <c:pt idx="1">
                  <c:v>301.59</c:v>
                </c:pt>
                <c:pt idx="2">
                  <c:v>305.15</c:v>
                </c:pt>
                <c:pt idx="3">
                  <c:v>325.25</c:v>
                </c:pt>
                <c:pt idx="4">
                  <c:v>311.89</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26.36</a:t>
                    </a:r>
                  </a:p>
                </c:rich>
              </c:tx>
              <c:showLegendKey val="0"/>
              <c:showVal val="1"/>
              <c:showCatName val="0"/>
              <c:showSerName val="0"/>
              <c:showPercent val="0"/>
              <c:showBubbleSize val="0"/>
            </c:dLbl>
            <c:dLbl>
              <c:idx val="2"/>
              <c:tx>
                <c:rich>
                  <a:bodyPr/>
                  <a:lstStyle/>
                  <a:p>
                    <a:r>
                      <a:t>283.77</a:t>
                    </a:r>
                  </a:p>
                </c:rich>
              </c:tx>
              <c:showLegendKey val="0"/>
              <c:showVal val="1"/>
              <c:showCatName val="0"/>
              <c:showSerName val="0"/>
              <c:showPercent val="0"/>
              <c:showBubbleSize val="0"/>
            </c:dLbl>
            <c:dLbl>
              <c:idx val="3"/>
              <c:tx>
                <c:rich>
                  <a:bodyPr/>
                  <a:lstStyle/>
                  <a:p>
                    <a:r>
                      <a:t>302.86</a:t>
                    </a:r>
                  </a:p>
                </c:rich>
              </c:tx>
              <c:showLegendKey val="0"/>
              <c:showVal val="1"/>
              <c:showCatName val="0"/>
              <c:showSerName val="0"/>
              <c:showPercent val="0"/>
              <c:showBubbleSize val="0"/>
            </c:dLbl>
            <c:dLbl>
              <c:idx val="4"/>
              <c:tx>
                <c:rich>
                  <a:bodyPr/>
                  <a:lstStyle/>
                  <a:p>
                    <a:r>
                      <a:t>307.23</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6.61</c:v>
                </c:pt>
                <c:pt idx="1">
                  <c:v>326.36</c:v>
                </c:pt>
                <c:pt idx="2">
                  <c:v>283.77</c:v>
                </c:pt>
                <c:pt idx="3">
                  <c:v>302.86</c:v>
                </c:pt>
                <c:pt idx="4">
                  <c:v>307.23</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31</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1</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42.81</c:v>
                </c:pt>
                <c:pt idx="1">
                  <c:v>280.19</c:v>
                </c:pt>
                <c:pt idx="2">
                  <c:v>230.57</c:v>
                </c:pt>
                <c:pt idx="3">
                  <c:v>238.78</c:v>
                </c:pt>
                <c:pt idx="4">
                  <c:v>406.0</c:v>
                </c:pt>
                <c:pt idx="5">
                  <c:v>635.69</c:v>
                </c:pt>
                <c:pt idx="6">
                  <c:v>636.86</c:v>
                </c:pt>
                <c:pt idx="7">
                  <c:v>646.75</c:v>
                </c:pt>
                <c:pt idx="8">
                  <c:v>665.31</c:v>
                </c:pt>
                <c:pt idx="9">
                  <c:v>462.71</c:v>
                </c:pt>
                <c:pt idx="10">
                  <c:v>622.01</c:v>
                </c:pt>
                <c:pt idx="11">
                  <c:v>585.67</c:v>
                </c:pt>
                <c:pt idx="12">
                  <c:v>588.76</c:v>
                </c:pt>
                <c:pt idx="13">
                  <c:v>831.48</c:v>
                </c:pt>
                <c:pt idx="14">
                  <c:v>534.15</c:v>
                </c:pt>
                <c:pt idx="15">
                  <c:v>276.8</c:v>
                </c:pt>
                <c:pt idx="16">
                  <c:v>316.96</c:v>
                </c:pt>
                <c:pt idx="17">
                  <c:v>301.2</c:v>
                </c:pt>
                <c:pt idx="18">
                  <c:v>322.3</c:v>
                </c:pt>
                <c:pt idx="19">
                  <c:v>18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8.69</a:t>
                    </a:r>
                  </a:p>
                </c:rich>
              </c:tx>
              <c:showLegendKey val="0"/>
              <c:showVal val="1"/>
              <c:showCatName val="0"/>
              <c:showSerName val="0"/>
              <c:showPercent val="0"/>
              <c:showBubbleSize val="0"/>
            </c:dLbl>
            <c:dLbl>
              <c:idx val="3"/>
              <c:tx>
                <c:rich>
                  <a:bodyPr/>
                  <a:lstStyle/>
                  <a:p>
                    <a:r>
                      <a:t>334.03</a:t>
                    </a:r>
                  </a:p>
                </c:rich>
              </c:tx>
              <c:showLegendKey val="0"/>
              <c:showVal val="1"/>
              <c:showCatName val="0"/>
              <c:showSerName val="0"/>
              <c:showPercent val="0"/>
              <c:showBubbleSize val="0"/>
            </c:dLbl>
            <c:dLbl>
              <c:idx val="4"/>
              <c:tx>
                <c:rich>
                  <a:bodyPr/>
                  <a:lstStyle/>
                  <a:p>
                    <a:r>
                      <a:t>189.3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Sheer Touch Sunscreen Adults Cosmetics Crema 50 1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74</c:v>
                </c:pt>
                <c:pt idx="1">
                  <c:v>306.84</c:v>
                </c:pt>
                <c:pt idx="2">
                  <c:v>308.69</c:v>
                </c:pt>
                <c:pt idx="3">
                  <c:v>334.03</c:v>
                </c:pt>
                <c:pt idx="4">
                  <c:v>189.32</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38.04</a:t>
                    </a:r>
                  </a:p>
                </c:rich>
              </c:tx>
              <c:showLegendKey val="0"/>
              <c:showVal val="1"/>
              <c:showCatName val="0"/>
              <c:showSerName val="0"/>
              <c:showPercent val="0"/>
              <c:showBubbleSize val="0"/>
            </c:dLbl>
            <c:dLbl>
              <c:idx val="2"/>
              <c:tx>
                <c:rich>
                  <a:bodyPr/>
                  <a:lstStyle/>
                  <a:p>
                    <a:r>
                      <a:t>290.72</a:t>
                    </a:r>
                  </a:p>
                </c:rich>
              </c:tx>
              <c:showLegendKey val="0"/>
              <c:showVal val="1"/>
              <c:showCatName val="0"/>
              <c:showSerName val="0"/>
              <c:showPercent val="0"/>
              <c:showBubbleSize val="0"/>
            </c:dLbl>
            <c:dLbl>
              <c:idx val="3"/>
              <c:tx>
                <c:rich>
                  <a:bodyPr/>
                  <a:lstStyle/>
                  <a:p>
                    <a:r>
                      <a:t>316.05</a:t>
                    </a:r>
                  </a:p>
                </c:rich>
              </c:tx>
              <c:showLegendKey val="0"/>
              <c:showVal val="1"/>
              <c:showCatName val="0"/>
              <c:showSerName val="0"/>
              <c:showPercent val="0"/>
              <c:showBubbleSize val="0"/>
            </c:dLbl>
            <c:dLbl>
              <c:idx val="4"/>
              <c:tx>
                <c:rich>
                  <a:bodyPr/>
                  <a:lstStyle/>
                  <a:p>
                    <a:r>
                      <a:t>310.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3.99</c:v>
                </c:pt>
                <c:pt idx="1">
                  <c:v>338.04</c:v>
                </c:pt>
                <c:pt idx="2">
                  <c:v>290.72</c:v>
                </c:pt>
                <c:pt idx="3">
                  <c:v>316.05</c:v>
                </c:pt>
                <c:pt idx="4">
                  <c:v>310.2</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8</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8</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4</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69.3</c:v>
                </c:pt>
                <c:pt idx="1">
                  <c:v>282.37</c:v>
                </c:pt>
                <c:pt idx="2">
                  <c:v>258.13</c:v>
                </c:pt>
                <c:pt idx="3">
                  <c:v>242.37</c:v>
                </c:pt>
                <c:pt idx="4">
                  <c:v>400.18</c:v>
                </c:pt>
                <c:pt idx="5">
                  <c:v>635.1</c:v>
                </c:pt>
                <c:pt idx="6">
                  <c:v>641.3</c:v>
                </c:pt>
                <c:pt idx="7">
                  <c:v>647.88</c:v>
                </c:pt>
                <c:pt idx="8">
                  <c:v>648.88</c:v>
                </c:pt>
                <c:pt idx="9">
                  <c:v>465.44</c:v>
                </c:pt>
                <c:pt idx="10">
                  <c:v>629.48</c:v>
                </c:pt>
                <c:pt idx="11">
                  <c:v>594.01</c:v>
                </c:pt>
                <c:pt idx="12">
                  <c:v>597.5</c:v>
                </c:pt>
                <c:pt idx="13">
                  <c:v>839.2</c:v>
                </c:pt>
                <c:pt idx="14">
                  <c:v>542.95</c:v>
                </c:pt>
                <c:pt idx="15">
                  <c:v>281.56</c:v>
                </c:pt>
                <c:pt idx="16">
                  <c:v>316.47</c:v>
                </c:pt>
                <c:pt idx="17">
                  <c:v>312.74</c:v>
                </c:pt>
                <c:pt idx="18">
                  <c:v>318.97</c:v>
                </c:pt>
                <c:pt idx="19">
                  <c:v>18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7.12</a:t>
                    </a:r>
                  </a:p>
                </c:rich>
              </c:tx>
              <c:showLegendKey val="0"/>
              <c:showVal val="1"/>
              <c:showCatName val="0"/>
              <c:showSerName val="0"/>
              <c:showPercent val="0"/>
              <c:showBubbleSize val="0"/>
            </c:dLbl>
            <c:dLbl>
              <c:idx val="3"/>
              <c:tx>
                <c:rich>
                  <a:bodyPr/>
                  <a:lstStyle/>
                  <a:p>
                    <a:r>
                      <a:t>330.0</a:t>
                    </a:r>
                  </a:p>
                </c:rich>
              </c:tx>
              <c:showLegendKey val="0"/>
              <c:showVal val="1"/>
              <c:showCatName val="0"/>
              <c:showSerName val="0"/>
              <c:showPercent val="0"/>
              <c:showBubbleSize val="0"/>
            </c:dLbl>
            <c:dLbl>
              <c:idx val="4"/>
              <c:tx>
                <c:rich>
                  <a:bodyPr/>
                  <a:lstStyle/>
                  <a:p>
                    <a:r>
                      <a:t>325.31</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05.33</c:v>
                </c:pt>
                <c:pt idx="1">
                  <c:v>318.53</c:v>
                </c:pt>
                <c:pt idx="2">
                  <c:v>347.12</c:v>
                </c:pt>
                <c:pt idx="3">
                  <c:v>330.0</c:v>
                </c:pt>
                <c:pt idx="4">
                  <c:v>325.31</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5.5</a:t>
                    </a:r>
                  </a:p>
                </c:rich>
              </c:tx>
              <c:dLblPos val="t"/>
              <c:showLegendKey val="0"/>
              <c:showVal val="1"/>
              <c:showCatName val="0"/>
              <c:showSerName val="0"/>
              <c:showPercent val="0"/>
              <c:showBubbleSize val="0"/>
            </c:dLbl>
            <c:dLbl>
              <c:idx val="2"/>
              <c:tx>
                <c:rich>
                  <a:bodyPr/>
                  <a:lstStyle/>
                  <a:p>
                    <a:r>
                      <a:t>292.61</a:t>
                    </a:r>
                  </a:p>
                </c:rich>
              </c:tx>
              <c:dLblPos val="t"/>
              <c:showLegendKey val="0"/>
              <c:showVal val="1"/>
              <c:showCatName val="0"/>
              <c:showSerName val="0"/>
              <c:showPercent val="0"/>
              <c:showBubbleSize val="0"/>
            </c:dLbl>
            <c:dLbl>
              <c:idx val="3"/>
              <c:tx>
                <c:rich>
                  <a:bodyPr/>
                  <a:lstStyle/>
                  <a:p>
                    <a:r>
                      <a:t>323.42</a:t>
                    </a:r>
                  </a:p>
                </c:rich>
              </c:tx>
              <c:dLblPos val="t"/>
              <c:showLegendKey val="0"/>
              <c:showVal val="1"/>
              <c:showCatName val="0"/>
              <c:showSerName val="0"/>
              <c:showPercent val="0"/>
              <c:showBubbleSize val="0"/>
            </c:dLbl>
            <c:dLbl>
              <c:idx val="4"/>
              <c:tx>
                <c:rich>
                  <a:bodyPr/>
                  <a:lstStyle/>
                  <a:p>
                    <a:r>
                      <a:t>309.18</a:t>
                    </a:r>
                  </a:p>
                </c:rich>
              </c:tx>
              <c:dLblPos val="t"/>
              <c:showLegendKey val="0"/>
              <c:showVal val="1"/>
              <c:showCatName val="0"/>
              <c:showSerName val="0"/>
              <c:showPercent val="0"/>
              <c:showBubbleSize val="0"/>
            </c:dLbl>
            <c:dLbl>
              <c:idx val="5"/>
              <c:tx>
                <c:rich>
                  <a:bodyPr/>
                  <a:lstStyle/>
                  <a:p>
                    <a:r>
                      <a:t>105.11</a:t>
                    </a:r>
                  </a:p>
                </c:rich>
              </c:tx>
              <c:dLblPos val="t"/>
              <c:showLegendKey val="0"/>
              <c:showVal val="1"/>
              <c:showCatName val="0"/>
              <c:showSerName val="0"/>
              <c:showPercent val="0"/>
              <c:showBubbleSize val="0"/>
            </c:dLbl>
            <c:dLbl>
              <c:idx val="6"/>
              <c:tx>
                <c:rich>
                  <a:bodyPr/>
                  <a:lstStyle/>
                  <a:p>
                    <a:r>
                      <a:t>185.59</a:t>
                    </a:r>
                  </a:p>
                </c:rich>
              </c:tx>
              <c:dLblPos val="t"/>
              <c:showLegendKey val="0"/>
              <c:showVal val="1"/>
              <c:showCatName val="0"/>
              <c:showSerName val="0"/>
              <c:showPercent val="0"/>
              <c:showBubbleSize val="0"/>
            </c:dLbl>
            <c:dLbl>
              <c:idx val="7"/>
              <c:tx>
                <c:rich>
                  <a:bodyPr/>
                  <a:lstStyle/>
                  <a:p>
                    <a:r>
                      <a:t>302.74</a:t>
                    </a:r>
                  </a:p>
                </c:rich>
              </c:tx>
              <c:dLblPos val="t"/>
              <c:showLegendKey val="0"/>
              <c:showVal val="1"/>
              <c:showCatName val="0"/>
              <c:showSerName val="0"/>
              <c:showPercent val="0"/>
              <c:showBubbleSize val="0"/>
            </c:dLbl>
            <c:dLbl>
              <c:idx val="8"/>
              <c:tx>
                <c:rich>
                  <a:bodyPr/>
                  <a:lstStyle/>
                  <a:p>
                    <a:r>
                      <a:t>282.36</a:t>
                    </a:r>
                  </a:p>
                </c:rich>
              </c:tx>
              <c:dLblPos val="t"/>
              <c:showLegendKey val="0"/>
              <c:showVal val="1"/>
              <c:showCatName val="0"/>
              <c:showSerName val="0"/>
              <c:showPercent val="0"/>
              <c:showBubbleSize val="0"/>
            </c:dLbl>
            <c:dLbl>
              <c:idx val="9"/>
              <c:tx>
                <c:rich>
                  <a:bodyPr/>
                  <a:lstStyle/>
                  <a:p>
                    <a:r>
                      <a:t>93.35</a:t>
                    </a:r>
                  </a:p>
                </c:rich>
              </c:tx>
              <c:dLblPos val="t"/>
              <c:showLegendKey val="0"/>
              <c:showVal val="1"/>
              <c:showCatName val="0"/>
              <c:showSerName val="0"/>
              <c:showPercent val="0"/>
              <c:showBubbleSize val="0"/>
            </c:dLbl>
            <c:dLbl>
              <c:idx val="10"/>
              <c:tx>
                <c:rich>
                  <a:bodyPr/>
                  <a:lstStyle/>
                  <a:p>
                    <a:r>
                      <a:t>288.86</a:t>
                    </a:r>
                  </a:p>
                </c:rich>
              </c:tx>
              <c:dLblPos val="t"/>
              <c:showLegendKey val="0"/>
              <c:showVal val="1"/>
              <c:showCatName val="0"/>
              <c:showSerName val="0"/>
              <c:showPercent val="0"/>
              <c:showBubbleSize val="0"/>
            </c:dLbl>
            <c:dLbl>
              <c:idx val="11"/>
              <c:tx>
                <c:rich>
                  <a:bodyPr/>
                  <a:lstStyle/>
                  <a:p>
                    <a:r>
                      <a:t>305.21</a:t>
                    </a:r>
                  </a:p>
                </c:rich>
              </c:tx>
              <c:dLblPos val="t"/>
              <c:showLegendKey val="0"/>
              <c:showVal val="1"/>
              <c:showCatName val="0"/>
              <c:showSerName val="0"/>
              <c:showPercent val="0"/>
              <c:showBubbleSize val="0"/>
            </c:dLbl>
            <c:dLbl>
              <c:idx val="12"/>
              <c:tx>
                <c:rich>
                  <a:bodyPr/>
                  <a:lstStyle/>
                  <a:p>
                    <a:r>
                      <a:t>300.66</a:t>
                    </a:r>
                  </a:p>
                </c:rich>
              </c:tx>
              <c:dLblPos val="t"/>
              <c:showLegendKey val="0"/>
              <c:showVal val="1"/>
              <c:showCatName val="0"/>
              <c:showSerName val="0"/>
              <c:showPercent val="0"/>
              <c:showBubbleSize val="0"/>
            </c:dLbl>
            <c:dLbl>
              <c:idx val="13"/>
              <c:tx>
                <c:rich>
                  <a:bodyPr/>
                  <a:lstStyle/>
                  <a:p>
                    <a:r>
                      <a:t>279.87</a:t>
                    </a:r>
                  </a:p>
                </c:rich>
              </c:tx>
              <c:dLblPos val="t"/>
              <c:showLegendKey val="0"/>
              <c:showVal val="1"/>
              <c:showCatName val="0"/>
              <c:showSerName val="0"/>
              <c:showPercent val="0"/>
              <c:showBubbleSize val="0"/>
            </c:dLbl>
            <c:dLbl>
              <c:idx val="14"/>
              <c:tx>
                <c:rich>
                  <a:bodyPr/>
                  <a:lstStyle/>
                  <a:p>
                    <a:r>
                      <a:t>18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Ozono Sunscreen Adults Cosmetics Liquido 50+ 90Ml</c:v>
                </c:pt>
                <c:pt idx="6">
                  <c:v>Edgewell Hawaiian Tropic Sheer Touch Sunscreen Adults Cosmetics Crema 50 120Ml</c:v>
                </c:pt>
                <c:pt idx="7">
                  <c:v>Edgewell Hawaiian Tropic Silk Hydration Sunscreen Adults Cosmetics Liquido 50 180Ml</c:v>
                </c:pt>
                <c:pt idx="8">
                  <c:v>Edgewell Hawaiian Tropic Sheer Touch Sunscreen Adults Cosmetics Crema 30 - 49 240Ml</c:v>
                </c:pt>
                <c:pt idx="9">
                  <c:v>Edgewell Hawaiian Tropic Island Sport Sunscreen Adults Sport Liquido 50 60Ml</c:v>
                </c:pt>
                <c:pt idx="10">
                  <c:v>Edgewell Hawaiian Tropic Tanning Sunscreen Adults Cosmetics Spray Liquido 15 - 19 2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91.91</c:v>
                </c:pt>
                <c:pt idx="1">
                  <c:v>295.5</c:v>
                </c:pt>
                <c:pt idx="2">
                  <c:v>292.61</c:v>
                </c:pt>
                <c:pt idx="3">
                  <c:v>323.42</c:v>
                </c:pt>
                <c:pt idx="4">
                  <c:v>309.18</c:v>
                </c:pt>
                <c:pt idx="5">
                  <c:v>105.11</c:v>
                </c:pt>
                <c:pt idx="6">
                  <c:v>185.59</c:v>
                </c:pt>
                <c:pt idx="7">
                  <c:v>302.74</c:v>
                </c:pt>
                <c:pt idx="8">
                  <c:v>282.36</c:v>
                </c:pt>
                <c:pt idx="9">
                  <c:v>93.35</c:v>
                </c:pt>
                <c:pt idx="10">
                  <c:v>288.86</c:v>
                </c:pt>
                <c:pt idx="11">
                  <c:v>305.21</c:v>
                </c:pt>
                <c:pt idx="12">
                  <c:v>300.66</c:v>
                </c:pt>
                <c:pt idx="13">
                  <c:v>279.87</c:v>
                </c:pt>
                <c:pt idx="14">
                  <c:v>18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339.06</a:t>
                    </a:r>
                  </a:p>
                </c:rich>
              </c:tx>
              <c:showLegendKey val="0"/>
              <c:showVal val="1"/>
              <c:showCatName val="0"/>
              <c:showSerName val="0"/>
              <c:showPercent val="0"/>
              <c:showBubbleSize val="0"/>
            </c:dLbl>
            <c:dLbl>
              <c:idx val="2"/>
              <c:tx>
                <c:rich>
                  <a:bodyPr/>
                  <a:lstStyle/>
                  <a:p>
                    <a:r>
                      <a:t>330.54</a:t>
                    </a:r>
                  </a:p>
                </c:rich>
              </c:tx>
              <c:showLegendKey val="0"/>
              <c:showVal val="1"/>
              <c:showCatName val="0"/>
              <c:showSerName val="0"/>
              <c:showPercent val="0"/>
              <c:showBubbleSize val="0"/>
            </c:dLbl>
            <c:dLbl>
              <c:idx val="3"/>
              <c:tx>
                <c:rich>
                  <a:bodyPr/>
                  <a:lstStyle/>
                  <a:p>
                    <a:r>
                      <a:t>329.19</a:t>
                    </a:r>
                  </a:p>
                </c:rich>
              </c:tx>
              <c:showLegendKey val="0"/>
              <c:showVal val="1"/>
              <c:showCatName val="0"/>
              <c:showSerName val="0"/>
              <c:showPercent val="0"/>
              <c:showBubbleSize val="0"/>
            </c:dLbl>
            <c:dLbl>
              <c:idx val="4"/>
              <c:tx>
                <c:rich>
                  <a:bodyPr/>
                  <a:lstStyle/>
                  <a:p>
                    <a:r>
                      <a:t>91.75</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Spray Liquido 50+ 170Ml</c:v>
                </c:pt>
                <c:pt idx="2">
                  <c:v>Edgewell Banana Boat Advanced Protection Sunscreen Adults Cosmetics Liquido 50+ 240Ml</c:v>
                </c:pt>
                <c:pt idx="3">
                  <c:v>Edgewell Banana Boat Dry Balance Sunscreen Adults Sport Spray Liquido 50 220Ml</c:v>
                </c:pt>
                <c:pt idx="4">
                  <c:v>Edgewell Banana Boat Advanced Protection Sunscreen Adults Cosmetics Liquido 50+ 6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8.86</c:v>
                </c:pt>
                <c:pt idx="1">
                  <c:v>339.06</c:v>
                </c:pt>
                <c:pt idx="2">
                  <c:v>330.54</c:v>
                </c:pt>
                <c:pt idx="3">
                  <c:v>329.19</c:v>
                </c:pt>
                <c:pt idx="4">
                  <c:v>91.75</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5</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15</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5.48</c:v>
                </c:pt>
                <c:pt idx="1">
                  <c:v>363.49</c:v>
                </c:pt>
                <c:pt idx="2">
                  <c:v>362.74</c:v>
                </c:pt>
                <c:pt idx="3">
                  <c:v>400.18</c:v>
                </c:pt>
                <c:pt idx="4">
                  <c:v>427.0</c:v>
                </c:pt>
                <c:pt idx="5">
                  <c:v>634.08</c:v>
                </c:pt>
                <c:pt idx="6">
                  <c:v>642.22</c:v>
                </c:pt>
                <c:pt idx="7">
                  <c:v>649.42</c:v>
                </c:pt>
                <c:pt idx="8">
                  <c:v>652.95</c:v>
                </c:pt>
                <c:pt idx="9">
                  <c:v>467.39</c:v>
                </c:pt>
                <c:pt idx="10">
                  <c:v>633.15</c:v>
                </c:pt>
                <c:pt idx="11">
                  <c:v>596.69</c:v>
                </c:pt>
                <c:pt idx="12">
                  <c:v>601.16</c:v>
                </c:pt>
                <c:pt idx="13">
                  <c:v>843.38</c:v>
                </c:pt>
                <c:pt idx="14">
                  <c:v>550.32</c:v>
                </c:pt>
                <c:pt idx="15">
                  <c:v>315.86</c:v>
                </c:pt>
                <c:pt idx="16">
                  <c:v>350.73</c:v>
                </c:pt>
                <c:pt idx="17">
                  <c:v>361.69</c:v>
                </c:pt>
                <c:pt idx="18">
                  <c:v>365.11</c:v>
                </c:pt>
                <c:pt idx="19">
                  <c:v>18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220.0</a:t>
                    </a:r>
                  </a:p>
                </c:rich>
              </c:tx>
              <c:showLegendKey val="0"/>
              <c:showVal val="1"/>
              <c:showCatName val="0"/>
              <c:showSerName val="0"/>
              <c:showPercent val="0"/>
              <c:showBubbleSize val="0"/>
            </c:dLbl>
            <c:dLbl>
              <c:idx val="3"/>
              <c:tx>
                <c:rich>
                  <a:bodyPr/>
                  <a:lstStyle/>
                  <a:p>
                    <a:r>
                      <a:t>258.0</a:t>
                    </a:r>
                  </a:p>
                </c:rich>
              </c:tx>
              <c:showLegendKey val="0"/>
              <c:showVal val="1"/>
              <c:showCatName val="0"/>
              <c:showSerName val="0"/>
              <c:showPercent val="0"/>
              <c:showBubbleSize val="0"/>
            </c:dLbl>
            <c:dLbl>
              <c:idx val="4"/>
              <c:tx>
                <c:rich>
                  <a:bodyPr/>
                  <a:lstStyle/>
                  <a:p>
                    <a:r>
                      <a:t>133.0</a:t>
                    </a:r>
                  </a:p>
                </c:rich>
              </c:tx>
              <c:showLegendKey val="0"/>
              <c:showVal val="1"/>
              <c:showCatName val="0"/>
              <c:showSerName val="0"/>
              <c:showPercent val="0"/>
              <c:showBubbleSize val="0"/>
            </c:dLbl>
            <c:dLbl>
              <c:idx val="5"/>
              <c:tx>
                <c:rich>
                  <a:bodyPr/>
                  <a:lstStyle/>
                  <a:p>
                    <a:r>
                      <a:t>453.61</a:t>
                    </a:r>
                  </a:p>
                </c:rich>
              </c:tx>
              <c:showLegendKey val="0"/>
              <c:showVal val="1"/>
              <c:showCatName val="0"/>
              <c:showSerName val="0"/>
              <c:showPercent val="0"/>
              <c:showBubbleSize val="0"/>
            </c:dLbl>
            <c:dLbl>
              <c:idx val="6"/>
              <c:tx>
                <c:rich>
                  <a:bodyPr/>
                  <a:lstStyle/>
                  <a:p>
                    <a:r>
                      <a:t>450.0</a:t>
                    </a:r>
                  </a:p>
                </c:rich>
              </c:tx>
              <c:showLegendKey val="0"/>
              <c:showVal val="1"/>
              <c:showCatName val="0"/>
              <c:showSerName val="0"/>
              <c:showPercent val="0"/>
              <c:showBubbleSize val="0"/>
            </c:dLbl>
            <c:dLbl>
              <c:idx val="7"/>
              <c:tx>
                <c:rich>
                  <a:bodyPr/>
                  <a:lstStyle/>
                  <a:p>
                    <a:r>
                      <a:t>188.63</a:t>
                    </a:r>
                  </a:p>
                </c:rich>
              </c:tx>
              <c:showLegendKey val="0"/>
              <c:showVal val="1"/>
              <c:showCatName val="0"/>
              <c:showSerName val="0"/>
              <c:showPercent val="0"/>
              <c:showBubbleSize val="0"/>
            </c:dLbl>
            <c:dLbl>
              <c:idx val="8"/>
              <c:tx>
                <c:rich>
                  <a:bodyPr/>
                  <a:lstStyle/>
                  <a:p>
                    <a:r>
                      <a:t>294.01</a:t>
                    </a:r>
                  </a:p>
                </c:rich>
              </c:tx>
              <c:showLegendKey val="0"/>
              <c:showVal val="1"/>
              <c:showCatName val="0"/>
              <c:showSerName val="0"/>
              <c:showPercent val="0"/>
              <c:showBubbleSize val="0"/>
            </c:dLbl>
            <c:dLbl>
              <c:idx val="9"/>
              <c:tx>
                <c:rich>
                  <a:bodyPr/>
                  <a:lstStyle/>
                  <a:p>
                    <a:r>
                      <a:t>232.54</a:t>
                    </a:r>
                  </a:p>
                </c:rich>
              </c:tx>
              <c:showLegendKey val="0"/>
              <c:showVal val="1"/>
              <c:showCatName val="0"/>
              <c:showSerName val="0"/>
              <c:showPercent val="0"/>
              <c:showBubbleSize val="0"/>
            </c:dLbl>
            <c:dLbl>
              <c:idx val="10"/>
              <c:tx>
                <c:rich>
                  <a:bodyPr/>
                  <a:lstStyle/>
                  <a:p>
                    <a:r>
                      <a:t>295.0</a:t>
                    </a:r>
                  </a:p>
                </c:rich>
              </c:tx>
              <c:showLegendKey val="0"/>
              <c:showVal val="1"/>
              <c:showCatName val="0"/>
              <c:showSerName val="0"/>
              <c:showPercent val="0"/>
              <c:showBubbleSize val="0"/>
            </c:dLbl>
            <c:dLbl>
              <c:idx val="11"/>
              <c:tx>
                <c:rich>
                  <a:bodyPr/>
                  <a:lstStyle/>
                  <a:p>
                    <a:r>
                      <a:t>362.53</a:t>
                    </a:r>
                  </a:p>
                </c:rich>
              </c:tx>
              <c:showLegendKey val="0"/>
              <c:showVal val="1"/>
              <c:showCatName val="0"/>
              <c:showSerName val="0"/>
              <c:showPercent val="0"/>
              <c:showBubbleSize val="0"/>
            </c:dLbl>
            <c:dLbl>
              <c:idx val="12"/>
              <c:tx>
                <c:rich>
                  <a:bodyPr/>
                  <a:lstStyle/>
                  <a:p>
                    <a:r>
                      <a:t>156.91</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8</a:t>
                    </a:r>
                  </a:p>
                </c:rich>
              </c:tx>
              <c:showLegendKey val="0"/>
              <c:showVal val="1"/>
              <c:showCatName val="0"/>
              <c:showSerName val="0"/>
              <c:showPercent val="0"/>
              <c:showBubbleSize val="0"/>
            </c:dLbl>
            <c:dLbl>
              <c:idx val="15"/>
              <c:tx>
                <c:rich>
                  <a:bodyPr/>
                  <a:lstStyle/>
                  <a:p>
                    <a:r>
                      <a:t>155.07</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pt idx="5">
                  <c:v>Isdin Isdin Sunscreen Adults Derma Crema 50 50Ml</c:v>
                </c:pt>
                <c:pt idx="6">
                  <c:v>Isdin Isdin Sunscreen Adults Derma Crema 50+ 50Ml</c:v>
                </c:pt>
                <c:pt idx="7">
                  <c:v>Beiersdorf Nivea Sunscreen Adults Cosmetics Liquido 50+ 125Ml</c:v>
                </c:pt>
                <c:pt idx="8">
                  <c:v>Beiersdorf Nivea Sunscreen Adults Cosmetics Crema 50+ 200Ml</c:v>
                </c:pt>
                <c:pt idx="9">
                  <c:v>Beiersdorf Nivea Sunscreen Adults Cosmetics Crema 50 50Ml</c:v>
                </c:pt>
                <c:pt idx="10">
                  <c:v>Beiersdorf Nivea Sunscreen Kids Cosmetics Liquido 50+ 200Ml</c:v>
                </c:pt>
                <c:pt idx="11">
                  <c:v>Beiersdorf Nivea Sunscreen Adults Cosmetics Spray Liquido 50 20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220.0</c:v>
                </c:pt>
                <c:pt idx="3">
                  <c:v>258.0</c:v>
                </c:pt>
                <c:pt idx="4">
                  <c:v>133.0</c:v>
                </c:pt>
                <c:pt idx="5">
                  <c:v>453.61</c:v>
                </c:pt>
                <c:pt idx="6">
                  <c:v>450.0</c:v>
                </c:pt>
                <c:pt idx="7">
                  <c:v>188.63</c:v>
                </c:pt>
                <c:pt idx="8">
                  <c:v>294.01</c:v>
                </c:pt>
                <c:pt idx="9">
                  <c:v>232.54</c:v>
                </c:pt>
                <c:pt idx="10">
                  <c:v>295.0</c:v>
                </c:pt>
                <c:pt idx="11">
                  <c:v>362.53</c:v>
                </c:pt>
                <c:pt idx="12">
                  <c:v>156.91</c:v>
                </c:pt>
                <c:pt idx="13">
                  <c:v>118.11</c:v>
                </c:pt>
                <c:pt idx="14">
                  <c:v>178.8</c:v>
                </c:pt>
                <c:pt idx="15">
                  <c:v>155.07</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234.59</a:t>
                    </a:r>
                  </a:p>
                </c:rich>
              </c:tx>
              <c:showLegendKey val="0"/>
              <c:showVal val="1"/>
              <c:showCatName val="0"/>
              <c:showSerName val="0"/>
              <c:showPercent val="0"/>
              <c:showBubbleSize val="0"/>
            </c:dLbl>
            <c:dLbl>
              <c:idx val="2"/>
              <c:tx>
                <c:rich>
                  <a:bodyPr/>
                  <a:lstStyle/>
                  <a:p>
                    <a:r>
                      <a:t>205.93</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453.61</a:t>
                    </a:r>
                  </a:p>
                </c:rich>
              </c:tx>
              <c:showLegendKey val="0"/>
              <c:showVal val="1"/>
              <c:showCatName val="0"/>
              <c:showSerName val="0"/>
              <c:showPercent val="0"/>
              <c:showBubbleSize val="0"/>
            </c:dLbl>
            <c:dLbl>
              <c:idx val="5"/>
              <c:tx>
                <c:rich>
                  <a:bodyPr/>
                  <a:lstStyle/>
                  <a:p>
                    <a:r>
                      <a:t>450.0</a:t>
                    </a:r>
                  </a:p>
                </c:rich>
              </c:tx>
              <c:showLegendKey val="0"/>
              <c:showVal val="1"/>
              <c:showCatName val="0"/>
              <c:showSerName val="0"/>
              <c:showPercent val="0"/>
              <c:showBubbleSize val="0"/>
            </c:dLbl>
            <c:dLbl>
              <c:idx val="6"/>
              <c:tx>
                <c:rich>
                  <a:bodyPr/>
                  <a:lstStyle/>
                  <a:p>
                    <a:r>
                      <a:t>188.63</a:t>
                    </a:r>
                  </a:p>
                </c:rich>
              </c:tx>
              <c:showLegendKey val="0"/>
              <c:showVal val="1"/>
              <c:showCatName val="0"/>
              <c:showSerName val="0"/>
              <c:showPercent val="0"/>
              <c:showBubbleSize val="0"/>
            </c:dLbl>
            <c:dLbl>
              <c:idx val="7"/>
              <c:tx>
                <c:rich>
                  <a:bodyPr/>
                  <a:lstStyle/>
                  <a:p>
                    <a:r>
                      <a:t>294.01</a:t>
                    </a:r>
                  </a:p>
                </c:rich>
              </c:tx>
              <c:showLegendKey val="0"/>
              <c:showVal val="1"/>
              <c:showCatName val="0"/>
              <c:showSerName val="0"/>
              <c:showPercent val="0"/>
              <c:showBubbleSize val="0"/>
            </c:dLbl>
            <c:dLbl>
              <c:idx val="8"/>
              <c:tx>
                <c:rich>
                  <a:bodyPr/>
                  <a:lstStyle/>
                  <a:p>
                    <a:r>
                      <a:t>232.54</a:t>
                    </a:r>
                  </a:p>
                </c:rich>
              </c:tx>
              <c:showLegendKey val="0"/>
              <c:showVal val="1"/>
              <c:showCatName val="0"/>
              <c:showSerName val="0"/>
              <c:showPercent val="0"/>
              <c:showBubbleSize val="0"/>
            </c:dLbl>
            <c:dLbl>
              <c:idx val="9"/>
              <c:tx>
                <c:rich>
                  <a:bodyPr/>
                  <a:lstStyle/>
                  <a:p>
                    <a:r>
                      <a:t>295.0</a:t>
                    </a:r>
                  </a:p>
                </c:rich>
              </c:tx>
              <c:showLegendKey val="0"/>
              <c:showVal val="1"/>
              <c:showCatName val="0"/>
              <c:showSerName val="0"/>
              <c:showPercent val="0"/>
              <c:showBubbleSize val="0"/>
            </c:dLbl>
            <c:dLbl>
              <c:idx val="10"/>
              <c:tx>
                <c:rich>
                  <a:bodyPr/>
                  <a:lstStyle/>
                  <a:p>
                    <a:r>
                      <a:t>362.53</a:t>
                    </a:r>
                  </a:p>
                </c:rich>
              </c:tx>
              <c:showLegendKey val="0"/>
              <c:showVal val="1"/>
              <c:showCatName val="0"/>
              <c:showSerName val="0"/>
              <c:showPercent val="0"/>
              <c:showBubbleSize val="0"/>
            </c:dLbl>
            <c:dLbl>
              <c:idx val="11"/>
              <c:tx>
                <c:rich>
                  <a:bodyPr/>
                  <a:lstStyle/>
                  <a:p>
                    <a:r>
                      <a:t>156.91</a:t>
                    </a:r>
                  </a:p>
                </c:rich>
              </c:tx>
              <c:showLegendKey val="0"/>
              <c:showVal val="1"/>
              <c:showCatName val="0"/>
              <c:showSerName val="0"/>
              <c:showPercent val="0"/>
              <c:showBubbleSize val="0"/>
            </c:dLbl>
            <c:dLbl>
              <c:idx val="12"/>
              <c:tx>
                <c:rich>
                  <a:bodyPr/>
                  <a:lstStyle/>
                  <a:p>
                    <a:r>
                      <a:t>118.11</a:t>
                    </a:r>
                  </a:p>
                </c:rich>
              </c:tx>
              <c:showLegendKey val="0"/>
              <c:showVal val="1"/>
              <c:showCatName val="0"/>
              <c:showSerName val="0"/>
              <c:showPercent val="0"/>
              <c:showBubbleSize val="0"/>
            </c:dLbl>
            <c:dLbl>
              <c:idx val="13"/>
              <c:tx>
                <c:rich>
                  <a:bodyPr/>
                  <a:lstStyle/>
                  <a:p>
                    <a:r>
                      <a:t>178.8</a:t>
                    </a:r>
                  </a:p>
                </c:rich>
              </c:tx>
              <c:showLegendKey val="0"/>
              <c:showVal val="1"/>
              <c:showCatName val="0"/>
              <c:showSerName val="0"/>
              <c:showPercent val="0"/>
              <c:showBubbleSize val="0"/>
            </c:dLbl>
            <c:dLbl>
              <c:idx val="14"/>
              <c:tx>
                <c:rich>
                  <a:bodyPr/>
                  <a:lstStyle/>
                  <a:p>
                    <a:r>
                      <a:t>155.07</a:t>
                    </a:r>
                  </a:p>
                </c:rich>
              </c:tx>
              <c:showLegendKey val="0"/>
              <c:showVal val="1"/>
              <c:showCatName val="0"/>
              <c:showSerName val="0"/>
              <c:showPercent val="0"/>
              <c:showBubbleSize val="0"/>
            </c:dLbl>
            <c:dLbl>
              <c:idx val="15"/>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pt idx="4">
                  <c:v>Isdin Isdin Sunscreen Adults Derma Crema 50 50Ml</c:v>
                </c:pt>
                <c:pt idx="5">
                  <c:v>Isdin Isdin Sunscreen Adults Derma Crema 50+ 50Ml</c:v>
                </c:pt>
                <c:pt idx="6">
                  <c:v>Beiersdorf Nivea Sunscreen Adults Cosmetics Liquido 50+ 125Ml</c:v>
                </c:pt>
                <c:pt idx="7">
                  <c:v>Beiersdorf Nivea Sunscreen Adults Cosmetics Crema 50+ 200Ml</c:v>
                </c:pt>
                <c:pt idx="8">
                  <c:v>Beiersdorf Nivea Sunscreen Adults Cosmetics Crema 50 50Ml</c:v>
                </c:pt>
                <c:pt idx="9">
                  <c:v>Beiersdorf Nivea Sunscreen Kids Cosmetics Liquido 50+ 200Ml</c:v>
                </c:pt>
                <c:pt idx="10">
                  <c:v>Beiersdorf Nivea Sunscreen Adults Cosmetics Spray Liquido 50 200Ml</c:v>
                </c:pt>
                <c:pt idx="11">
                  <c:v>Others Fabricante Unif. Others Marca Unif. Sunscreen Adults Cosmetics Crema 50+ 125Ml</c:v>
                </c:pt>
                <c:pt idx="12">
                  <c:v>Others Fabricante Unif. Others Marca Unif. Sunscreen Adults Cosmetics Crema 50 100Ml</c:v>
                </c:pt>
                <c:pt idx="13">
                  <c:v>Others Fabricante Unif. Others Marca Unif. Sunscreen Adults Derma Crema 50+ 125Ml</c:v>
                </c:pt>
                <c:pt idx="14">
                  <c:v>Others Fabricante Unif. Others Marca Unif. Sunscreen Kids Derma Crema 50+ 125Ml</c:v>
                </c:pt>
                <c:pt idx="15">
                  <c:v>Others Fabricante Unif. Others Marca Unif. Sunscreen Adults Cosmetics Spray 50+ 170Ml</c:v>
                </c:pt>
              </c:strCache>
            </c:strRef>
          </c:cat>
          <c:val>
            <c:numRef>
              <c:f>Sheet1!$B$2:$B$17</c:f>
              <c:numCache>
                <c:formatCode>General</c:formatCode>
                <c:ptCount val="16"/>
                <c:pt idx="0">
                  <c:v>96.8</c:v>
                </c:pt>
                <c:pt idx="1">
                  <c:v>234.59</c:v>
                </c:pt>
                <c:pt idx="2">
                  <c:v>205.93</c:v>
                </c:pt>
                <c:pt idx="3">
                  <c:v>125.0</c:v>
                </c:pt>
                <c:pt idx="4">
                  <c:v>453.61</c:v>
                </c:pt>
                <c:pt idx="5">
                  <c:v>450.0</c:v>
                </c:pt>
                <c:pt idx="6">
                  <c:v>188.63</c:v>
                </c:pt>
                <c:pt idx="7">
                  <c:v>294.01</c:v>
                </c:pt>
                <c:pt idx="8">
                  <c:v>232.54</c:v>
                </c:pt>
                <c:pt idx="9">
                  <c:v>295.0</c:v>
                </c:pt>
                <c:pt idx="10">
                  <c:v>362.53</c:v>
                </c:pt>
                <c:pt idx="11">
                  <c:v>156.91</c:v>
                </c:pt>
                <c:pt idx="12">
                  <c:v>118.11</c:v>
                </c:pt>
                <c:pt idx="13">
                  <c:v>178.8</c:v>
                </c:pt>
                <c:pt idx="14">
                  <c:v>155.07</c:v>
                </c:pt>
                <c:pt idx="15">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56</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6</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2</c:v>
                </c:pt>
                <c:pt idx="1">
                  <c:v>312.14</c:v>
                </c:pt>
                <c:pt idx="2">
                  <c:v>305.29</c:v>
                </c:pt>
                <c:pt idx="3">
                  <c:v>189.54</c:v>
                </c:pt>
                <c:pt idx="4">
                  <c:v>101.15</c:v>
                </c:pt>
                <c:pt idx="5">
                  <c:v>653.87</c:v>
                </c:pt>
                <c:pt idx="6">
                  <c:v>648.13</c:v>
                </c:pt>
                <c:pt idx="7">
                  <c:v>660.8</c:v>
                </c:pt>
                <c:pt idx="8">
                  <c:v>645.56</c:v>
                </c:pt>
                <c:pt idx="9">
                  <c:v>464.7</c:v>
                </c:pt>
                <c:pt idx="10">
                  <c:v>379.06</c:v>
                </c:pt>
                <c:pt idx="11">
                  <c:v>364.11</c:v>
                </c:pt>
                <c:pt idx="12">
                  <c:v>268.43</c:v>
                </c:pt>
                <c:pt idx="13">
                  <c:v>463.05</c:v>
                </c:pt>
                <c:pt idx="14">
                  <c:v>397.59</c:v>
                </c:pt>
                <c:pt idx="15">
                  <c:v>305.54</c:v>
                </c:pt>
                <c:pt idx="16">
                  <c:v>271.17</c:v>
                </c:pt>
                <c:pt idx="17">
                  <c:v>300.66</c:v>
                </c:pt>
                <c:pt idx="18">
                  <c:v>305.45</c:v>
                </c:pt>
                <c:pt idx="19">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56</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6</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56</c:v>
                </c:pt>
                <c:pt idx="9">
                  <c:v>464.7</c:v>
                </c:pt>
                <c:pt idx="10">
                  <c:v>379.06</c:v>
                </c:pt>
                <c:pt idx="11">
                  <c:v>364.11</c:v>
                </c:pt>
                <c:pt idx="12">
                  <c:v>268.43</c:v>
                </c:pt>
                <c:pt idx="13">
                  <c:v>463.05</c:v>
                </c:pt>
                <c:pt idx="14">
                  <c:v>397.59</c:v>
                </c:pt>
                <c:pt idx="15">
                  <c:v>305.54</c:v>
                </c:pt>
                <c:pt idx="16">
                  <c:v>271.17</c:v>
                </c:pt>
                <c:pt idx="17">
                  <c:v>300.66</c:v>
                </c:pt>
                <c:pt idx="18">
                  <c:v>305.45</c:v>
                </c:pt>
                <c:pt idx="19">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56</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6</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56</c:v>
                </c:pt>
                <c:pt idx="8">
                  <c:v>464.7</c:v>
                </c:pt>
                <c:pt idx="9">
                  <c:v>379.06</c:v>
                </c:pt>
                <c:pt idx="10">
                  <c:v>364.11</c:v>
                </c:pt>
                <c:pt idx="11">
                  <c:v>268.43</c:v>
                </c:pt>
                <c:pt idx="12">
                  <c:v>463.05</c:v>
                </c:pt>
                <c:pt idx="13">
                  <c:v>397.59</c:v>
                </c:pt>
                <c:pt idx="14">
                  <c:v>305.54</c:v>
                </c:pt>
                <c:pt idx="15">
                  <c:v>271.17</c:v>
                </c:pt>
                <c:pt idx="16">
                  <c:v>300.66</c:v>
                </c:pt>
                <c:pt idx="17">
                  <c:v>305.45</c:v>
                </c:pt>
                <c:pt idx="18">
                  <c:v>187.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55.71</a:t>
                    </a:r>
                  </a:p>
                </c:rich>
              </c:tx>
              <c:showLegendKey val="0"/>
              <c:showVal val="1"/>
              <c:showCatName val="0"/>
              <c:showSerName val="0"/>
              <c:showPercent val="0"/>
              <c:showBubbleSize val="0"/>
            </c:dLbl>
            <c:dLbl>
              <c:idx val="2"/>
              <c:tx>
                <c:rich>
                  <a:bodyPr/>
                  <a:lstStyle/>
                  <a:p>
                    <a:r>
                      <a:t>234.37</a:t>
                    </a:r>
                  </a:p>
                </c:rich>
              </c:tx>
              <c:showLegendKey val="0"/>
              <c:showVal val="1"/>
              <c:showCatName val="0"/>
              <c:showSerName val="0"/>
              <c:showPercent val="0"/>
              <c:showBubbleSize val="0"/>
            </c:dLbl>
            <c:dLbl>
              <c:idx val="3"/>
              <c:tx>
                <c:rich>
                  <a:bodyPr/>
                  <a:lstStyle/>
                  <a:p>
                    <a:r>
                      <a:t>371.44</a:t>
                    </a:r>
                  </a:p>
                </c:rich>
              </c:tx>
              <c:showLegendKey val="0"/>
              <c:showVal val="1"/>
              <c:showCatName val="0"/>
              <c:showSerName val="0"/>
              <c:showPercent val="0"/>
              <c:showBubbleSize val="0"/>
            </c:dLbl>
            <c:dLbl>
              <c:idx val="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Tanning Sunscreen Adults Cosmetics Aceite 15 - 19 240Ml</c:v>
                </c:pt>
                <c:pt idx="1">
                  <c:v>Others Fabricante Unif. Others Marca Unif. Sunscreen Adults Cosmetics Aceite 30 - 49 75Ml</c:v>
                </c:pt>
                <c:pt idx="2">
                  <c:v>Others Fabricante Unif. Others Marca Unif. Sunscreen Adults Cosmetics Aceite 30 - 49 150Ml</c:v>
                </c:pt>
                <c:pt idx="3">
                  <c:v>Others Fabricante Unif. Others Marca Unif. Sunscreen Adults Cosmetics Spray Aceite 30 200Ml</c:v>
                </c:pt>
                <c:pt idx="4">
                  <c:v>Others Fabricante Unif. Others Marca Unif. Sunscreen Kids Cosmetics Spray Aceite 50+ 177Ml</c:v>
                </c:pt>
              </c:strCache>
            </c:strRef>
          </c:cat>
          <c:val>
            <c:numRef>
              <c:f>Sheet1!$B$2:$B$6</c:f>
              <c:numCache>
                <c:formatCode>General</c:formatCode>
                <c:ptCount val="5"/>
                <c:pt idx="0">
                  <c:v>399.0</c:v>
                </c:pt>
                <c:pt idx="1">
                  <c:v>155.71</c:v>
                </c:pt>
                <c:pt idx="2">
                  <c:v>234.37</c:v>
                </c:pt>
                <c:pt idx="3">
                  <c:v>371.44</c:v>
                </c:pt>
                <c:pt idx="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188.44</a:t>
                    </a:r>
                  </a:p>
                </c:rich>
              </c:tx>
              <c:showLegendKey val="0"/>
              <c:showVal val="1"/>
              <c:showCatName val="0"/>
              <c:showSerName val="0"/>
              <c:showPercent val="0"/>
              <c:showBubbleSize val="0"/>
            </c:dLbl>
            <c:dLbl>
              <c:idx val="2"/>
              <c:tx>
                <c:rich>
                  <a:bodyPr/>
                  <a:lstStyle/>
                  <a:p>
                    <a:r>
                      <a:t>295.27</a:t>
                    </a:r>
                  </a:p>
                </c:rich>
              </c:tx>
              <c:showLegendKey val="0"/>
              <c:showVal val="1"/>
              <c:showCatName val="0"/>
              <c:showSerName val="0"/>
              <c:showPercent val="0"/>
              <c:showBubbleSize val="0"/>
            </c:dLbl>
            <c:dLbl>
              <c:idx val="3"/>
              <c:tx>
                <c:rich>
                  <a:bodyPr/>
                  <a:lstStyle/>
                  <a:p>
                    <a:r>
                      <a:t>208.98</a:t>
                    </a:r>
                  </a:p>
                </c:rich>
              </c:tx>
              <c:showLegendKey val="0"/>
              <c:showVal val="1"/>
              <c:showCatName val="0"/>
              <c:showSerName val="0"/>
              <c:showPercent val="0"/>
              <c:showBubbleSize val="0"/>
            </c:dLbl>
            <c:dLbl>
              <c:idx val="4"/>
              <c:tx>
                <c:rich>
                  <a:bodyPr/>
                  <a:lstStyle/>
                  <a:p>
                    <a:r>
                      <a:t>221.62</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280.16</a:t>
                    </a:r>
                  </a:p>
                </c:rich>
              </c:tx>
              <c:showLegendKey val="0"/>
              <c:showVal val="1"/>
              <c:showCatName val="0"/>
              <c:showSerName val="0"/>
              <c:showPercent val="0"/>
              <c:showBubbleSize val="0"/>
            </c:dLbl>
            <c:dLbl>
              <c:idx val="8"/>
              <c:tx>
                <c:rich>
                  <a:bodyPr/>
                  <a:lstStyle/>
                  <a:p>
                    <a:r>
                      <a:t>259.23</a:t>
                    </a:r>
                  </a:p>
                </c:rich>
              </c:tx>
              <c:showLegendKey val="0"/>
              <c:showVal val="1"/>
              <c:showCatName val="0"/>
              <c:showSerName val="0"/>
              <c:showPercent val="0"/>
              <c:showBubbleSize val="0"/>
            </c:dLbl>
            <c:dLbl>
              <c:idx val="9"/>
              <c:tx>
                <c:rich>
                  <a:bodyPr/>
                  <a:lstStyle/>
                  <a:p>
                    <a:r>
                      <a:t>300.27</a:t>
                    </a:r>
                  </a:p>
                </c:rich>
              </c:tx>
              <c:showLegendKey val="0"/>
              <c:showVal val="1"/>
              <c:showCatName val="0"/>
              <c:showSerName val="0"/>
              <c:showPercent val="0"/>
              <c:showBubbleSize val="0"/>
            </c:dLbl>
            <c:dLbl>
              <c:idx val="10"/>
              <c:tx>
                <c:rich>
                  <a:bodyPr/>
                  <a:lstStyle/>
                  <a:p>
                    <a:r>
                      <a:t>153.48</a:t>
                    </a:r>
                  </a:p>
                </c:rich>
              </c:tx>
              <c:showLegendKey val="0"/>
              <c:showVal val="1"/>
              <c:showCatName val="0"/>
              <c:showSerName val="0"/>
              <c:showPercent val="0"/>
              <c:showBubbleSize val="0"/>
            </c:dLbl>
            <c:dLbl>
              <c:idx val="11"/>
              <c:tx>
                <c:rich>
                  <a:bodyPr/>
                  <a:lstStyle/>
                  <a:p>
                    <a:r>
                      <a:t>84.57</a:t>
                    </a:r>
                  </a:p>
                </c:rich>
              </c:tx>
              <c:showLegendKey val="0"/>
              <c:showVal val="1"/>
              <c:showCatName val="0"/>
              <c:showSerName val="0"/>
              <c:showPercent val="0"/>
              <c:showBubbleSize val="0"/>
            </c:dLbl>
            <c:dLbl>
              <c:idx val="12"/>
              <c:tx>
                <c:rich>
                  <a:bodyPr/>
                  <a:lstStyle/>
                  <a:p>
                    <a:r>
                      <a:t>158.15</a:t>
                    </a:r>
                  </a:p>
                </c:rich>
              </c:tx>
              <c:showLegendKey val="0"/>
              <c:showVal val="1"/>
              <c:showCatName val="0"/>
              <c:showSerName val="0"/>
              <c:showPercent val="0"/>
              <c:showBubbleSize val="0"/>
            </c:dLbl>
            <c:dLbl>
              <c:idx val="13"/>
              <c:tx>
                <c:rich>
                  <a:bodyPr/>
                  <a:lstStyle/>
                  <a:p>
                    <a:r>
                      <a:t>196.9</a:t>
                    </a:r>
                  </a:p>
                </c:rich>
              </c:tx>
              <c:showLegendKey val="0"/>
              <c:showVal val="1"/>
              <c:showCatName val="0"/>
              <c:showSerName val="0"/>
              <c:showPercent val="0"/>
              <c:showBubbleSize val="0"/>
            </c:dLbl>
            <c:dLbl>
              <c:idx val="14"/>
              <c:tx>
                <c:rich>
                  <a:bodyPr/>
                  <a:lstStyle/>
                  <a:p>
                    <a:r>
                      <a:t>357.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Ozono Sunscreen Adults Cosmetics Crema 50+ 120Ml</c:v>
                </c:pt>
                <c:pt idx="4">
                  <c:v>Edgewell Hawaiian Tropic Other Sunscreen Adults Cosmetics Spray Crema 50 180Ml</c:v>
                </c:pt>
                <c:pt idx="5">
                  <c:v>Beiersdorf Nivea Sunscreen Adults Cosmetics Crema 50 50Ml</c:v>
                </c:pt>
                <c:pt idx="6">
                  <c:v>Beiersdorf Nivea Sunscreen Adults Cosmetics Crema 50+ 200Ml</c:v>
                </c:pt>
                <c:pt idx="7">
                  <c:v>Beiersdorf Nivea Sunscreen Adults Cosmetics Crema 50+ 40Ml</c:v>
                </c:pt>
                <c:pt idx="8">
                  <c:v>Beiersdorf Nivea Sunscreen Adults Cosmetics Crema 50+ 50Ml</c:v>
                </c:pt>
                <c:pt idx="9">
                  <c:v>Beiersdorf Nivea Sunscreen Adults Cosmetics Crema 30 - 49 200Ml</c:v>
                </c:pt>
                <c:pt idx="10">
                  <c:v>Others Fabricante Unif. Others Marca Unif. Sunscreen Adults Cosmetics Crema 50+ 125Ml</c:v>
                </c:pt>
                <c:pt idx="11">
                  <c:v>Others Fabricante Unif. Others Marca Unif. Sunscreen Adults Cosmetics Crema 50+ 90Ml</c:v>
                </c:pt>
                <c:pt idx="12">
                  <c:v>Others Fabricante Unif. Others Marca Unif. Sunscreen Adults Cosmetics Crema 50+ 200Ml</c:v>
                </c:pt>
                <c:pt idx="13">
                  <c:v>Others Fabricante Unif. Others Marca Unif. Sunscreen Kids Cosmetics Crema 50+ 125Ml</c:v>
                </c:pt>
                <c:pt idx="14">
                  <c:v>Others Fabricante Unif. Others Marca Unif. Sunscreen Adults Cosmetics Crema 50+ 50Ml</c:v>
                </c:pt>
              </c:strCache>
            </c:strRef>
          </c:cat>
          <c:val>
            <c:numRef>
              <c:f>Sheet1!$B$2:$B$16</c:f>
              <c:numCache>
                <c:formatCode>General</c:formatCode>
                <c:ptCount val="15"/>
                <c:pt idx="0">
                  <c:v>302.7</c:v>
                </c:pt>
                <c:pt idx="1">
                  <c:v>188.44</c:v>
                </c:pt>
                <c:pt idx="2">
                  <c:v>295.27</c:v>
                </c:pt>
                <c:pt idx="3">
                  <c:v>208.98</c:v>
                </c:pt>
                <c:pt idx="4">
                  <c:v>221.62</c:v>
                </c:pt>
                <c:pt idx="5">
                  <c:v>276.8</c:v>
                </c:pt>
                <c:pt idx="6">
                  <c:v>316.96</c:v>
                </c:pt>
                <c:pt idx="7">
                  <c:v>280.16</c:v>
                </c:pt>
                <c:pt idx="8">
                  <c:v>259.23</c:v>
                </c:pt>
                <c:pt idx="9">
                  <c:v>300.27</c:v>
                </c:pt>
                <c:pt idx="10">
                  <c:v>153.48</c:v>
                </c:pt>
                <c:pt idx="11">
                  <c:v>84.57</c:v>
                </c:pt>
                <c:pt idx="12">
                  <c:v>158.15</c:v>
                </c:pt>
                <c:pt idx="13">
                  <c:v>196.9</c:v>
                </c:pt>
                <c:pt idx="14">
                  <c:v>357.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77</a:t>
                    </a:r>
                  </a:p>
                </c:rich>
              </c:tx>
              <c:showLegendKey val="0"/>
              <c:showVal val="1"/>
              <c:showCatName val="0"/>
              <c:showSerName val="0"/>
              <c:showPercent val="0"/>
              <c:showBubbleSize val="0"/>
            </c:dLbl>
            <c:dLbl>
              <c:idx val="1"/>
              <c:tx>
                <c:rich>
                  <a:bodyPr/>
                  <a:lstStyle/>
                  <a:p>
                    <a:r>
                      <a:t>254.4</a:t>
                    </a:r>
                  </a:p>
                </c:rich>
              </c:tx>
              <c:showLegendKey val="0"/>
              <c:showVal val="1"/>
              <c:showCatName val="0"/>
              <c:showSerName val="0"/>
              <c:showPercent val="0"/>
              <c:showBubbleSize val="0"/>
            </c:dLbl>
            <c:dLbl>
              <c:idx val="2"/>
              <c:tx>
                <c:rich>
                  <a:bodyPr/>
                  <a:lstStyle/>
                  <a:p>
                    <a:r>
                      <a:t>269.47</a:t>
                    </a:r>
                  </a:p>
                </c:rich>
              </c:tx>
              <c:showLegendKey val="0"/>
              <c:showVal val="1"/>
              <c:showCatName val="0"/>
              <c:showSerName val="0"/>
              <c:showPercent val="0"/>
              <c:showBubbleSize val="0"/>
            </c:dLbl>
            <c:dLbl>
              <c:idx val="3"/>
              <c:tx>
                <c:rich>
                  <a:bodyPr/>
                  <a:lstStyle/>
                  <a:p>
                    <a:r>
                      <a:t>301.0</a:t>
                    </a:r>
                  </a:p>
                </c:rich>
              </c:tx>
              <c:showLegendKey val="0"/>
              <c:showVal val="1"/>
              <c:showCatName val="0"/>
              <c:showSerName val="0"/>
              <c:showPercent val="0"/>
              <c:showBubbleSize val="0"/>
            </c:dLbl>
            <c:dLbl>
              <c:idx val="4"/>
              <c:tx>
                <c:rich>
                  <a:bodyPr/>
                  <a:lstStyle/>
                  <a:p>
                    <a:r>
                      <a:t>223.46</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280.16</a:t>
                    </a:r>
                  </a:p>
                </c:rich>
              </c:tx>
              <c:showLegendKey val="0"/>
              <c:showVal val="1"/>
              <c:showCatName val="0"/>
              <c:showSerName val="0"/>
              <c:showPercent val="0"/>
              <c:showBubbleSize val="0"/>
            </c:dLbl>
            <c:dLbl>
              <c:idx val="8"/>
              <c:tx>
                <c:rich>
                  <a:bodyPr/>
                  <a:lstStyle/>
                  <a:p>
                    <a:r>
                      <a:t>259.23</a:t>
                    </a:r>
                  </a:p>
                </c:rich>
              </c:tx>
              <c:showLegendKey val="0"/>
              <c:showVal val="1"/>
              <c:showCatName val="0"/>
              <c:showSerName val="0"/>
              <c:showPercent val="0"/>
              <c:showBubbleSize val="0"/>
            </c:dLbl>
            <c:dLbl>
              <c:idx val="9"/>
              <c:tx>
                <c:rich>
                  <a:bodyPr/>
                  <a:lstStyle/>
                  <a:p>
                    <a:r>
                      <a:t>300.27</a:t>
                    </a:r>
                  </a:p>
                </c:rich>
              </c:tx>
              <c:showLegendKey val="0"/>
              <c:showVal val="1"/>
              <c:showCatName val="0"/>
              <c:showSerName val="0"/>
              <c:showPercent val="0"/>
              <c:showBubbleSize val="0"/>
            </c:dLbl>
            <c:dLbl>
              <c:idx val="10"/>
              <c:tx>
                <c:rich>
                  <a:bodyPr/>
                  <a:lstStyle/>
                  <a:p>
                    <a:r>
                      <a:t>153.48</a:t>
                    </a:r>
                  </a:p>
                </c:rich>
              </c:tx>
              <c:showLegendKey val="0"/>
              <c:showVal val="1"/>
              <c:showCatName val="0"/>
              <c:showSerName val="0"/>
              <c:showPercent val="0"/>
              <c:showBubbleSize val="0"/>
            </c:dLbl>
            <c:dLbl>
              <c:idx val="11"/>
              <c:tx>
                <c:rich>
                  <a:bodyPr/>
                  <a:lstStyle/>
                  <a:p>
                    <a:r>
                      <a:t>84.57</a:t>
                    </a:r>
                  </a:p>
                </c:rich>
              </c:tx>
              <c:showLegendKey val="0"/>
              <c:showVal val="1"/>
              <c:showCatName val="0"/>
              <c:showSerName val="0"/>
              <c:showPercent val="0"/>
              <c:showBubbleSize val="0"/>
            </c:dLbl>
            <c:dLbl>
              <c:idx val="12"/>
              <c:tx>
                <c:rich>
                  <a:bodyPr/>
                  <a:lstStyle/>
                  <a:p>
                    <a:r>
                      <a:t>158.15</a:t>
                    </a:r>
                  </a:p>
                </c:rich>
              </c:tx>
              <c:showLegendKey val="0"/>
              <c:showVal val="1"/>
              <c:showCatName val="0"/>
              <c:showSerName val="0"/>
              <c:showPercent val="0"/>
              <c:showBubbleSize val="0"/>
            </c:dLbl>
            <c:dLbl>
              <c:idx val="13"/>
              <c:tx>
                <c:rich>
                  <a:bodyPr/>
                  <a:lstStyle/>
                  <a:p>
                    <a:r>
                      <a:t>196.9</a:t>
                    </a:r>
                  </a:p>
                </c:rich>
              </c:tx>
              <c:showLegendKey val="0"/>
              <c:showVal val="1"/>
              <c:showCatName val="0"/>
              <c:showSerName val="0"/>
              <c:showPercent val="0"/>
              <c:showBubbleSize val="0"/>
            </c:dLbl>
            <c:dLbl>
              <c:idx val="14"/>
              <c:tx>
                <c:rich>
                  <a:bodyPr/>
                  <a:lstStyle/>
                  <a:p>
                    <a:r>
                      <a:t>357.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Kids Sport Sunscreen Kids Cosmetics Crema 50 180Ml</c:v>
                </c:pt>
                <c:pt idx="2">
                  <c:v>Edgewell Banana Boat Dry Balance Sunscreen Adults Cosmetics Spray Crema 50+ 220Ml</c:v>
                </c:pt>
                <c:pt idx="3">
                  <c:v>Edgewell Banana Boat Dry Balance Sunscreen Adults Cosmetics Crema 50+ 180Ml</c:v>
                </c:pt>
                <c:pt idx="4">
                  <c:v>Edgewell Banana Boat Bloqueador Sunscreen Adults Cosmetics Crema 50 236Ml</c:v>
                </c:pt>
                <c:pt idx="5">
                  <c:v>Beiersdorf Nivea Sunscreen Adults Cosmetics Crema 50 50Ml</c:v>
                </c:pt>
                <c:pt idx="6">
                  <c:v>Beiersdorf Nivea Sunscreen Adults Cosmetics Crema 50+ 200Ml</c:v>
                </c:pt>
                <c:pt idx="7">
                  <c:v>Beiersdorf Nivea Sunscreen Adults Cosmetics Crema 50+ 40Ml</c:v>
                </c:pt>
                <c:pt idx="8">
                  <c:v>Beiersdorf Nivea Sunscreen Adults Cosmetics Crema 50+ 50Ml</c:v>
                </c:pt>
                <c:pt idx="9">
                  <c:v>Beiersdorf Nivea Sunscreen Adults Cosmetics Crema 30 - 49 200Ml</c:v>
                </c:pt>
                <c:pt idx="10">
                  <c:v>Others Fabricante Unif. Others Marca Unif. Sunscreen Adults Cosmetics Crema 50+ 125Ml</c:v>
                </c:pt>
                <c:pt idx="11">
                  <c:v>Others Fabricante Unif. Others Marca Unif. Sunscreen Adults Cosmetics Crema 50+ 90Ml</c:v>
                </c:pt>
                <c:pt idx="12">
                  <c:v>Others Fabricante Unif. Others Marca Unif. Sunscreen Adults Cosmetics Crema 50+ 200Ml</c:v>
                </c:pt>
                <c:pt idx="13">
                  <c:v>Others Fabricante Unif. Others Marca Unif. Sunscreen Kids Cosmetics Crema 50+ 125Ml</c:v>
                </c:pt>
                <c:pt idx="14">
                  <c:v>Others Fabricante Unif. Others Marca Unif. Sunscreen Adults Cosmetics Crema 50+ 50Ml</c:v>
                </c:pt>
              </c:strCache>
            </c:strRef>
          </c:cat>
          <c:val>
            <c:numRef>
              <c:f>Sheet1!$B$2:$B$16</c:f>
              <c:numCache>
                <c:formatCode>General</c:formatCode>
                <c:ptCount val="15"/>
                <c:pt idx="0">
                  <c:v>283.77</c:v>
                </c:pt>
                <c:pt idx="1">
                  <c:v>254.4</c:v>
                </c:pt>
                <c:pt idx="2">
                  <c:v>269.47</c:v>
                </c:pt>
                <c:pt idx="3">
                  <c:v>301.0</c:v>
                </c:pt>
                <c:pt idx="4">
                  <c:v>223.46</c:v>
                </c:pt>
                <c:pt idx="5">
                  <c:v>276.8</c:v>
                </c:pt>
                <c:pt idx="6">
                  <c:v>316.96</c:v>
                </c:pt>
                <c:pt idx="7">
                  <c:v>280.16</c:v>
                </c:pt>
                <c:pt idx="8">
                  <c:v>259.23</c:v>
                </c:pt>
                <c:pt idx="9">
                  <c:v>300.27</c:v>
                </c:pt>
                <c:pt idx="10">
                  <c:v>153.48</c:v>
                </c:pt>
                <c:pt idx="11">
                  <c:v>84.57</c:v>
                </c:pt>
                <c:pt idx="12">
                  <c:v>158.15</c:v>
                </c:pt>
                <c:pt idx="13">
                  <c:v>196.9</c:v>
                </c:pt>
                <c:pt idx="14">
                  <c:v>357.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3</a:t>
                    </a:r>
                  </a:p>
                </c:rich>
              </c:tx>
              <c:dLblPos val="t"/>
              <c:showLegendKey val="0"/>
              <c:showVal val="1"/>
              <c:showCatName val="0"/>
              <c:showSerName val="0"/>
              <c:showPercent val="0"/>
              <c:showBubbleSize val="0"/>
            </c:dLbl>
            <c:dLbl>
              <c:idx val="1"/>
              <c:tx>
                <c:rich>
                  <a:bodyPr/>
                  <a:lstStyle/>
                  <a:p>
                    <a:r>
                      <a:t>308.98</a:t>
                    </a:r>
                  </a:p>
                </c:rich>
              </c:tx>
              <c:dLblPos val="t"/>
              <c:showLegendKey val="0"/>
              <c:showVal val="1"/>
              <c:showCatName val="0"/>
              <c:showSerName val="0"/>
              <c:showPercent val="0"/>
              <c:showBubbleSize val="0"/>
            </c:dLbl>
            <c:dLbl>
              <c:idx val="2"/>
              <c:tx>
                <c:rich>
                  <a:bodyPr/>
                  <a:lstStyle/>
                  <a:p>
                    <a:r>
                      <a:t>338.35</a:t>
                    </a:r>
                  </a:p>
                </c:rich>
              </c:tx>
              <c:dLblPos val="t"/>
              <c:showLegendKey val="0"/>
              <c:showVal val="1"/>
              <c:showCatName val="0"/>
              <c:showSerName val="0"/>
              <c:showPercent val="0"/>
              <c:showBubbleSize val="0"/>
            </c:dLbl>
            <c:dLbl>
              <c:idx val="3"/>
              <c:tx>
                <c:rich>
                  <a:bodyPr/>
                  <a:lstStyle/>
                  <a:p>
                    <a:r>
                      <a:t>322.45</a:t>
                    </a:r>
                  </a:p>
                </c:rich>
              </c:tx>
              <c:dLblPos val="t"/>
              <c:showLegendKey val="0"/>
              <c:showVal val="1"/>
              <c:showCatName val="0"/>
              <c:showSerName val="0"/>
              <c:showPercent val="0"/>
              <c:showBubbleSize val="0"/>
            </c:dLbl>
            <c:dLbl>
              <c:idx val="4"/>
              <c:tx>
                <c:rich>
                  <a:bodyPr/>
                  <a:lstStyle/>
                  <a:p>
                    <a:r>
                      <a:t>313.29</a:t>
                    </a:r>
                  </a:p>
                </c:rich>
              </c:tx>
              <c:dLblPos val="t"/>
              <c:showLegendKey val="0"/>
              <c:showVal val="1"/>
              <c:showCatName val="0"/>
              <c:showSerName val="0"/>
              <c:showPercent val="0"/>
              <c:showBubbleSize val="0"/>
            </c:dLbl>
            <c:dLbl>
              <c:idx val="5"/>
              <c:tx>
                <c:rich>
                  <a:bodyPr/>
                  <a:lstStyle/>
                  <a:p>
                    <a:r>
                      <a:t>314.03</a:t>
                    </a:r>
                  </a:p>
                </c:rich>
              </c:tx>
              <c:dLblPos val="t"/>
              <c:showLegendKey val="0"/>
              <c:showVal val="1"/>
              <c:showCatName val="0"/>
              <c:showSerName val="0"/>
              <c:showPercent val="0"/>
              <c:showBubbleSize val="0"/>
            </c:dLbl>
            <c:dLbl>
              <c:idx val="6"/>
              <c:tx>
                <c:rich>
                  <a:bodyPr/>
                  <a:lstStyle/>
                  <a:p>
                    <a:r>
                      <a:t>89.43</a:t>
                    </a:r>
                  </a:p>
                </c:rich>
              </c:tx>
              <c:dLblPos val="t"/>
              <c:showLegendKey val="0"/>
              <c:showVal val="1"/>
              <c:showCatName val="0"/>
              <c:showSerName val="0"/>
              <c:showPercent val="0"/>
              <c:showBubbleSize val="0"/>
            </c:dLbl>
            <c:dLbl>
              <c:idx val="7"/>
              <c:tx>
                <c:rich>
                  <a:bodyPr/>
                  <a:lstStyle/>
                  <a:p>
                    <a:r>
                      <a:t>383.56</a:t>
                    </a:r>
                  </a:p>
                </c:rich>
              </c:tx>
              <c:dLblPos val="t"/>
              <c:showLegendKey val="0"/>
              <c:showVal val="1"/>
              <c:showCatName val="0"/>
              <c:showSerName val="0"/>
              <c:showPercent val="0"/>
              <c:showBubbleSize val="0"/>
            </c:dLbl>
            <c:dLbl>
              <c:idx val="8"/>
              <c:tx>
                <c:rich>
                  <a:bodyPr/>
                  <a:lstStyle/>
                  <a:p>
                    <a:r>
                      <a:t>272.04</a:t>
                    </a:r>
                  </a:p>
                </c:rich>
              </c:tx>
              <c:dLblPos val="t"/>
              <c:showLegendKey val="0"/>
              <c:showVal val="1"/>
              <c:showCatName val="0"/>
              <c:showSerName val="0"/>
              <c:showPercent val="0"/>
              <c:showBubbleSize val="0"/>
            </c:dLbl>
            <c:dLbl>
              <c:idx val="9"/>
              <c:tx>
                <c:rich>
                  <a:bodyPr/>
                  <a:lstStyle/>
                  <a:p>
                    <a:r>
                      <a:t>265.35</a:t>
                    </a:r>
                  </a:p>
                </c:rich>
              </c:tx>
              <c:dLblPos val="t"/>
              <c:showLegendKey val="0"/>
              <c:showVal val="1"/>
              <c:showCatName val="0"/>
              <c:showSerName val="0"/>
              <c:showPercent val="0"/>
              <c:showBubbleSize val="0"/>
            </c:dLbl>
            <c:dLbl>
              <c:idx val="10"/>
              <c:tx>
                <c:rich>
                  <a:bodyPr/>
                  <a:lstStyle/>
                  <a:p>
                    <a:r>
                      <a:t>306.68</a:t>
                    </a:r>
                  </a:p>
                </c:rich>
              </c:tx>
              <c:dLblPos val="t"/>
              <c:showLegendKey val="0"/>
              <c:showVal val="1"/>
              <c:showCatName val="0"/>
              <c:showSerName val="0"/>
              <c:showPercent val="0"/>
              <c:showBubbleSize val="0"/>
            </c:dLbl>
            <c:dLbl>
              <c:idx val="11"/>
              <c:tx>
                <c:rich>
                  <a:bodyPr/>
                  <a:lstStyle/>
                  <a:p>
                    <a:r>
                      <a:t>250.9</a:t>
                    </a:r>
                  </a:p>
                </c:rich>
              </c:tx>
              <c:dLblPos val="t"/>
              <c:showLegendKey val="0"/>
              <c:showVal val="1"/>
              <c:showCatName val="0"/>
              <c:showSerName val="0"/>
              <c:showPercent val="0"/>
              <c:showBubbleSize val="0"/>
            </c:dLbl>
            <c:dLbl>
              <c:idx val="12"/>
              <c:tx>
                <c:rich>
                  <a:bodyPr/>
                  <a:lstStyle/>
                  <a:p>
                    <a:r>
                      <a:t>271.16</a:t>
                    </a:r>
                  </a:p>
                </c:rich>
              </c:tx>
              <c:dLblPos val="t"/>
              <c:showLegendKey val="0"/>
              <c:showVal val="1"/>
              <c:showCatName val="0"/>
              <c:showSerName val="0"/>
              <c:showPercent val="0"/>
              <c:showBubbleSize val="0"/>
            </c:dLbl>
            <c:dLbl>
              <c:idx val="13"/>
              <c:tx>
                <c:rich>
                  <a:bodyPr/>
                  <a:lstStyle/>
                  <a:p>
                    <a:r>
                      <a:t>223.35</a:t>
                    </a:r>
                  </a:p>
                </c:rich>
              </c:tx>
              <c:dLblPos val="t"/>
              <c:showLegendKey val="0"/>
              <c:showVal val="1"/>
              <c:showCatName val="0"/>
              <c:showSerName val="0"/>
              <c:showPercent val="0"/>
              <c:showBubbleSize val="0"/>
            </c:dLbl>
            <c:dLbl>
              <c:idx val="14"/>
              <c:tx>
                <c:rich>
                  <a:bodyPr/>
                  <a:lstStyle/>
                  <a:p>
                    <a:r>
                      <a:t>349.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Edgewell Hawaiian Tropic Tanning Sunscreen Adults Cosmetics Spray Liquido 15 - 19 220Ml</c:v>
                </c:pt>
                <c:pt idx="6">
                  <c:v>Edgewell Hawaiian Tropic Island Sport Sunscreen Adults Sport Liquido 50 60Ml</c:v>
                </c:pt>
                <c:pt idx="7">
                  <c:v>Edgewell Hawaiian Tropic Silk Hydration Sunscreen Adults Cosmetics Liquido 50 180Ml</c:v>
                </c:pt>
                <c:pt idx="8">
                  <c:v>Edgewell Hawaiian Tropic Silk Hydration Sunscreen Adults Cosmetics Spray Liquido 50 150Ml</c:v>
                </c:pt>
                <c:pt idx="9">
                  <c:v>Edgewell Hawaiian Tropic Silk Hydration Sunscreen Adults Cosmetics Spray Liquido 50+ 180Ml</c:v>
                </c:pt>
                <c:pt idx="10">
                  <c:v>Edgewell Hawaiian Tropic Ozono Sunscreen Adults Cosmetics Liquido 50+ 180Ml</c:v>
                </c:pt>
                <c:pt idx="11">
                  <c:v>Edgewell Hawaiian Tropic Carrot Sunscreen Adults Cosmetics Spray Liquido 30 - 49 177Ml</c:v>
                </c:pt>
                <c:pt idx="12">
                  <c:v>Edgewell Hawaiian Tropic Tanning Tanning Adults Cosmetics Spray Aceite 0 - 5 240Ml</c:v>
                </c:pt>
                <c:pt idx="13">
                  <c:v>Edgewell Hawaiian Tropic After Sun After Sun Adults Cosmetics Gel 0 - 5 240Ml</c:v>
                </c:pt>
                <c:pt idx="14">
                  <c:v>Edgewell Hawaiian Tropic Banded Pack Banded Pack 2X Sunscreen Multi 30 | 50+ 300Ml</c:v>
                </c:pt>
              </c:strCache>
            </c:strRef>
          </c:cat>
          <c:val>
            <c:numRef>
              <c:f>Sheet1!$B$2:$B$16</c:f>
              <c:numCache>
                <c:formatCode>General</c:formatCode>
                <c:ptCount val="15"/>
                <c:pt idx="0">
                  <c:v>303.93</c:v>
                </c:pt>
                <c:pt idx="1">
                  <c:v>308.98</c:v>
                </c:pt>
                <c:pt idx="2">
                  <c:v>338.35</c:v>
                </c:pt>
                <c:pt idx="3">
                  <c:v>322.45</c:v>
                </c:pt>
                <c:pt idx="4">
                  <c:v>313.29</c:v>
                </c:pt>
                <c:pt idx="5">
                  <c:v>314.03</c:v>
                </c:pt>
                <c:pt idx="6">
                  <c:v>89.43</c:v>
                </c:pt>
                <c:pt idx="7">
                  <c:v>383.56</c:v>
                </c:pt>
                <c:pt idx="8">
                  <c:v>272.04</c:v>
                </c:pt>
                <c:pt idx="9">
                  <c:v>265.35</c:v>
                </c:pt>
                <c:pt idx="10">
                  <c:v>306.68</c:v>
                </c:pt>
                <c:pt idx="11">
                  <c:v>250.9</c:v>
                </c:pt>
                <c:pt idx="12">
                  <c:v>271.16</c:v>
                </c:pt>
                <c:pt idx="13">
                  <c:v>223.35</c:v>
                </c:pt>
                <c:pt idx="14">
                  <c:v>34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Mineral Sunscreen Adults Cosmetics Emulsion 30 - 49 30Ml</c:v>
                </c:pt>
              </c:strCache>
            </c:strRef>
          </c:cat>
          <c:val>
            <c:numRef>
              <c:f>Sheet1!$B$2:$B$2</c:f>
              <c:numCache>
                <c:formatCode>General</c:formatCode>
                <c:ptCount val="1"/>
                <c:pt idx="0">
                  <c:v>3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3</a:t>
                    </a:r>
                  </a:p>
                </c:rich>
              </c:tx>
              <c:showLegendKey val="0"/>
              <c:showVal val="1"/>
              <c:showCatName val="0"/>
              <c:showSerName val="0"/>
              <c:showPercent val="0"/>
              <c:showBubbleSize val="0"/>
            </c:dLbl>
            <c:dLbl>
              <c:idx val="1"/>
              <c:tx>
                <c:rich>
                  <a:bodyPr/>
                  <a:lstStyle/>
                  <a:p>
                    <a:r>
                      <a:t>310.34</a:t>
                    </a:r>
                  </a:p>
                </c:rich>
              </c:tx>
              <c:showLegendKey val="0"/>
              <c:showVal val="1"/>
              <c:showCatName val="0"/>
              <c:showSerName val="0"/>
              <c:showPercent val="0"/>
              <c:showBubbleSize val="0"/>
            </c:dLbl>
            <c:dLbl>
              <c:idx val="2"/>
              <c:tx>
                <c:rich>
                  <a:bodyPr/>
                  <a:lstStyle/>
                  <a:p>
                    <a:r>
                      <a:t>292.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2.73</c:v>
                </c:pt>
                <c:pt idx="1">
                  <c:v>310.34</c:v>
                </c:pt>
                <c:pt idx="2">
                  <c:v>29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showLegendKey val="0"/>
              <c:showVal val="1"/>
              <c:showCatName val="0"/>
              <c:showSerName val="0"/>
              <c:showPercent val="0"/>
              <c:showBubbleSize val="0"/>
            </c:dLbl>
            <c:dLbl>
              <c:idx val="1"/>
              <c:tx>
                <c:rich>
                  <a:bodyPr/>
                  <a:lstStyle/>
                  <a:p>
                    <a:r>
                      <a:t>311.89</a:t>
                    </a:r>
                  </a:p>
                </c:rich>
              </c:tx>
              <c:showLegendKey val="0"/>
              <c:showVal val="1"/>
              <c:showCatName val="0"/>
              <c:showSerName val="0"/>
              <c:showPercent val="0"/>
              <c:showBubbleSize val="0"/>
            </c:dLbl>
            <c:dLbl>
              <c:idx val="2"/>
              <c:tx>
                <c:rich>
                  <a:bodyPr/>
                  <a:lstStyle/>
                  <a:p>
                    <a:r>
                      <a:t>101.93</a:t>
                    </a:r>
                  </a:p>
                </c:rich>
              </c:tx>
              <c:showLegendKey val="0"/>
              <c:showVal val="1"/>
              <c:showCatName val="0"/>
              <c:showSerName val="0"/>
              <c:showPercent val="0"/>
              <c:showBubbleSize val="0"/>
            </c:dLbl>
            <c:dLbl>
              <c:idx val="3"/>
              <c:tx>
                <c:rich>
                  <a:bodyPr/>
                  <a:lstStyle/>
                  <a:p>
                    <a:r>
                      <a:t>297.28</a:t>
                    </a:r>
                  </a:p>
                </c:rich>
              </c:tx>
              <c:showLegendKey val="0"/>
              <c:showVal val="1"/>
              <c:showCatName val="0"/>
              <c:showSerName val="0"/>
              <c:showPercent val="0"/>
              <c:showBubbleSize val="0"/>
            </c:dLbl>
            <c:dLbl>
              <c:idx val="4"/>
              <c:tx>
                <c:rich>
                  <a:bodyPr/>
                  <a:lstStyle/>
                  <a:p>
                    <a:r>
                      <a:t>309.44</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01.2</a:t>
                    </a:r>
                  </a:p>
                </c:rich>
              </c:tx>
              <c:showLegendKey val="0"/>
              <c:showVal val="1"/>
              <c:showCatName val="0"/>
              <c:showSerName val="0"/>
              <c:showPercent val="0"/>
              <c:showBubbleSize val="0"/>
            </c:dLbl>
            <c:dLbl>
              <c:idx val="8"/>
              <c:tx>
                <c:rich>
                  <a:bodyPr/>
                  <a:lstStyle/>
                  <a:p>
                    <a:r>
                      <a:t>186.88</a:t>
                    </a:r>
                  </a:p>
                </c:rich>
              </c:tx>
              <c:showLegendKey val="0"/>
              <c:showVal val="1"/>
              <c:showCatName val="0"/>
              <c:showSerName val="0"/>
              <c:showPercent val="0"/>
              <c:showBubbleSize val="0"/>
            </c:dLbl>
            <c:dLbl>
              <c:idx val="9"/>
              <c:tx>
                <c:rich>
                  <a:bodyPr/>
                  <a:lstStyle/>
                  <a:p>
                    <a:r>
                      <a:t>336.8</a:t>
                    </a:r>
                  </a:p>
                </c:rich>
              </c:tx>
              <c:showLegendKey val="0"/>
              <c:showVal val="1"/>
              <c:showCatName val="0"/>
              <c:showSerName val="0"/>
              <c:showPercent val="0"/>
              <c:showBubbleSize val="0"/>
            </c:dLbl>
            <c:dLbl>
              <c:idx val="10"/>
              <c:tx>
                <c:rich>
                  <a:bodyPr/>
                  <a:lstStyle/>
                  <a:p>
                    <a:r>
                      <a:t>297.49</a:t>
                    </a:r>
                  </a:p>
                </c:rich>
              </c:tx>
              <c:showLegendKey val="0"/>
              <c:showVal val="1"/>
              <c:showCatName val="0"/>
              <c:showSerName val="0"/>
              <c:showPercent val="0"/>
              <c:showBubbleSize val="0"/>
            </c:dLbl>
            <c:dLbl>
              <c:idx val="11"/>
              <c:tx>
                <c:rich>
                  <a:bodyPr/>
                  <a:lstStyle/>
                  <a:p>
                    <a:r>
                      <a:t>176.01</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7.88</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0.43</a:t>
                    </a:r>
                  </a:p>
                </c:rich>
              </c:tx>
              <c:showLegendKey val="0"/>
              <c:showVal val="1"/>
              <c:showCatName val="0"/>
              <c:showSerName val="0"/>
              <c:showPercent val="0"/>
              <c:showBubbleSize val="0"/>
            </c:dLbl>
            <c:dLbl>
              <c:idx val="16"/>
              <c:tx>
                <c:rich>
                  <a:bodyPr/>
                  <a:lstStyle/>
                  <a:p>
                    <a:r>
                      <a:t>16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Silk Hydration Sunscreen Adults Cosmetics Spray Liquido 50+ 18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Liquido 50+ 125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301.59</c:v>
                </c:pt>
                <c:pt idx="1">
                  <c:v>311.89</c:v>
                </c:pt>
                <c:pt idx="2">
                  <c:v>101.93</c:v>
                </c:pt>
                <c:pt idx="3">
                  <c:v>297.28</c:v>
                </c:pt>
                <c:pt idx="4">
                  <c:v>309.44</c:v>
                </c:pt>
                <c:pt idx="5">
                  <c:v>287.0</c:v>
                </c:pt>
                <c:pt idx="6">
                  <c:v>287.0</c:v>
                </c:pt>
                <c:pt idx="7">
                  <c:v>301.2</c:v>
                </c:pt>
                <c:pt idx="8">
                  <c:v>186.88</c:v>
                </c:pt>
                <c:pt idx="9">
                  <c:v>336.8</c:v>
                </c:pt>
                <c:pt idx="10">
                  <c:v>297.49</c:v>
                </c:pt>
                <c:pt idx="11">
                  <c:v>176.01</c:v>
                </c:pt>
                <c:pt idx="12">
                  <c:v>1206.0</c:v>
                </c:pt>
                <c:pt idx="13">
                  <c:v>287.88</c:v>
                </c:pt>
                <c:pt idx="14">
                  <c:v>739.0</c:v>
                </c:pt>
                <c:pt idx="15">
                  <c:v>250.43</c:v>
                </c:pt>
                <c:pt idx="16">
                  <c:v>16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7.23</a:t>
                    </a:r>
                  </a:p>
                </c:rich>
              </c:tx>
              <c:showLegendKey val="0"/>
              <c:showVal val="1"/>
              <c:showCatName val="0"/>
              <c:showSerName val="0"/>
              <c:showPercent val="0"/>
              <c:showBubbleSize val="0"/>
            </c:dLbl>
            <c:dLbl>
              <c:idx val="1"/>
              <c:tx>
                <c:rich>
                  <a:bodyPr/>
                  <a:lstStyle/>
                  <a:p>
                    <a:r>
                      <a:t>312.26</a:t>
                    </a:r>
                  </a:p>
                </c:rich>
              </c:tx>
              <c:showLegendKey val="0"/>
              <c:showVal val="1"/>
              <c:showCatName val="0"/>
              <c:showSerName val="0"/>
              <c:showPercent val="0"/>
              <c:showBubbleSize val="0"/>
            </c:dLbl>
            <c:dLbl>
              <c:idx val="2"/>
              <c:tx>
                <c:rich>
                  <a:bodyPr/>
                  <a:lstStyle/>
                  <a:p>
                    <a:r>
                      <a:t>85.3</a:t>
                    </a:r>
                  </a:p>
                </c:rich>
              </c:tx>
              <c:showLegendKey val="0"/>
              <c:showVal val="1"/>
              <c:showCatName val="0"/>
              <c:showSerName val="0"/>
              <c:showPercent val="0"/>
              <c:showBubbleSize val="0"/>
            </c:dLbl>
            <c:dLbl>
              <c:idx val="3"/>
              <c:tx>
                <c:rich>
                  <a:bodyPr/>
                  <a:lstStyle/>
                  <a:p>
                    <a:r>
                      <a:t>246.2</a:t>
                    </a:r>
                  </a:p>
                </c:rich>
              </c:tx>
              <c:showLegendKey val="0"/>
              <c:showVal val="1"/>
              <c:showCatName val="0"/>
              <c:showSerName val="0"/>
              <c:showPercent val="0"/>
              <c:showBubbleSize val="0"/>
            </c:dLbl>
            <c:dLbl>
              <c:idx val="4"/>
              <c:tx>
                <c:rich>
                  <a:bodyPr/>
                  <a:lstStyle/>
                  <a:p>
                    <a:r>
                      <a:t>170.05</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01.2</a:t>
                    </a:r>
                  </a:p>
                </c:rich>
              </c:tx>
              <c:showLegendKey val="0"/>
              <c:showVal val="1"/>
              <c:showCatName val="0"/>
              <c:showSerName val="0"/>
              <c:showPercent val="0"/>
              <c:showBubbleSize val="0"/>
            </c:dLbl>
            <c:dLbl>
              <c:idx val="8"/>
              <c:tx>
                <c:rich>
                  <a:bodyPr/>
                  <a:lstStyle/>
                  <a:p>
                    <a:r>
                      <a:t>186.88</a:t>
                    </a:r>
                  </a:p>
                </c:rich>
              </c:tx>
              <c:showLegendKey val="0"/>
              <c:showVal val="1"/>
              <c:showCatName val="0"/>
              <c:showSerName val="0"/>
              <c:showPercent val="0"/>
              <c:showBubbleSize val="0"/>
            </c:dLbl>
            <c:dLbl>
              <c:idx val="9"/>
              <c:tx>
                <c:rich>
                  <a:bodyPr/>
                  <a:lstStyle/>
                  <a:p>
                    <a:r>
                      <a:t>336.8</a:t>
                    </a:r>
                  </a:p>
                </c:rich>
              </c:tx>
              <c:showLegendKey val="0"/>
              <c:showVal val="1"/>
              <c:showCatName val="0"/>
              <c:showSerName val="0"/>
              <c:showPercent val="0"/>
              <c:showBubbleSize val="0"/>
            </c:dLbl>
            <c:dLbl>
              <c:idx val="10"/>
              <c:tx>
                <c:rich>
                  <a:bodyPr/>
                  <a:lstStyle/>
                  <a:p>
                    <a:r>
                      <a:t>297.49</a:t>
                    </a:r>
                  </a:p>
                </c:rich>
              </c:tx>
              <c:showLegendKey val="0"/>
              <c:showVal val="1"/>
              <c:showCatName val="0"/>
              <c:showSerName val="0"/>
              <c:showPercent val="0"/>
              <c:showBubbleSize val="0"/>
            </c:dLbl>
            <c:dLbl>
              <c:idx val="11"/>
              <c:tx>
                <c:rich>
                  <a:bodyPr/>
                  <a:lstStyle/>
                  <a:p>
                    <a:r>
                      <a:t>176.01</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7.88</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0.43</a:t>
                    </a:r>
                  </a:p>
                </c:rich>
              </c:tx>
              <c:showLegendKey val="0"/>
              <c:showVal val="1"/>
              <c:showCatName val="0"/>
              <c:showSerName val="0"/>
              <c:showPercent val="0"/>
              <c:showBubbleSize val="0"/>
            </c:dLbl>
            <c:dLbl>
              <c:idx val="16"/>
              <c:tx>
                <c:rich>
                  <a:bodyPr/>
                  <a:lstStyle/>
                  <a:p>
                    <a:r>
                      <a:t>16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Advanced Protection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180Ml</c:v>
                </c:pt>
                <c:pt idx="4">
                  <c:v>Edgewell Banana Boat Advanced Protection Sunscreen Kids Cosmetics Spray Liquido 50 17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Liquido 50+ 125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307.23</c:v>
                </c:pt>
                <c:pt idx="1">
                  <c:v>312.26</c:v>
                </c:pt>
                <c:pt idx="2">
                  <c:v>85.3</c:v>
                </c:pt>
                <c:pt idx="3">
                  <c:v>246.2</c:v>
                </c:pt>
                <c:pt idx="4">
                  <c:v>170.05</c:v>
                </c:pt>
                <c:pt idx="5">
                  <c:v>287.0</c:v>
                </c:pt>
                <c:pt idx="6">
                  <c:v>287.0</c:v>
                </c:pt>
                <c:pt idx="7">
                  <c:v>301.2</c:v>
                </c:pt>
                <c:pt idx="8">
                  <c:v>186.88</c:v>
                </c:pt>
                <c:pt idx="9">
                  <c:v>336.8</c:v>
                </c:pt>
                <c:pt idx="10">
                  <c:v>297.49</c:v>
                </c:pt>
                <c:pt idx="11">
                  <c:v>176.01</c:v>
                </c:pt>
                <c:pt idx="12">
                  <c:v>1206.0</c:v>
                </c:pt>
                <c:pt idx="13">
                  <c:v>287.88</c:v>
                </c:pt>
                <c:pt idx="14">
                  <c:v>739.0</c:v>
                </c:pt>
                <c:pt idx="15">
                  <c:v>250.43</c:v>
                </c:pt>
                <c:pt idx="16">
                  <c:v>16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01.2</a:t>
                    </a:r>
                  </a:p>
                </c:rich>
              </c:tx>
              <c:showLegendKey val="0"/>
              <c:showVal val="1"/>
              <c:showCatName val="0"/>
              <c:showSerName val="0"/>
              <c:showPercent val="0"/>
              <c:showBubbleSize val="0"/>
            </c:dLbl>
            <c:dLbl>
              <c:idx val="8"/>
              <c:tx>
                <c:rich>
                  <a:bodyPr/>
                  <a:lstStyle/>
                  <a:p>
                    <a:r>
                      <a:t>186.88</a:t>
                    </a:r>
                  </a:p>
                </c:rich>
              </c:tx>
              <c:showLegendKey val="0"/>
              <c:showVal val="1"/>
              <c:showCatName val="0"/>
              <c:showSerName val="0"/>
              <c:showPercent val="0"/>
              <c:showBubbleSize val="0"/>
            </c:dLbl>
            <c:dLbl>
              <c:idx val="9"/>
              <c:tx>
                <c:rich>
                  <a:bodyPr/>
                  <a:lstStyle/>
                  <a:p>
                    <a:r>
                      <a:t>336.8</a:t>
                    </a:r>
                  </a:p>
                </c:rich>
              </c:tx>
              <c:showLegendKey val="0"/>
              <c:showVal val="1"/>
              <c:showCatName val="0"/>
              <c:showSerName val="0"/>
              <c:showPercent val="0"/>
              <c:showBubbleSize val="0"/>
            </c:dLbl>
            <c:dLbl>
              <c:idx val="10"/>
              <c:tx>
                <c:rich>
                  <a:bodyPr/>
                  <a:lstStyle/>
                  <a:p>
                    <a:r>
                      <a:t>297.49</a:t>
                    </a:r>
                  </a:p>
                </c:rich>
              </c:tx>
              <c:showLegendKey val="0"/>
              <c:showVal val="1"/>
              <c:showCatName val="0"/>
              <c:showSerName val="0"/>
              <c:showPercent val="0"/>
              <c:showBubbleSize val="0"/>
            </c:dLbl>
            <c:dLbl>
              <c:idx val="11"/>
              <c:tx>
                <c:rich>
                  <a:bodyPr/>
                  <a:lstStyle/>
                  <a:p>
                    <a:r>
                      <a:t>176.01</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7.88</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0.43</a:t>
                    </a:r>
                  </a:p>
                </c:rich>
              </c:tx>
              <c:showLegendKey val="0"/>
              <c:showVal val="1"/>
              <c:showCatName val="0"/>
              <c:showSerName val="0"/>
              <c:showPercent val="0"/>
              <c:showBubbleSize val="0"/>
            </c:dLbl>
            <c:dLbl>
              <c:idx val="16"/>
              <c:tx>
                <c:rich>
                  <a:bodyPr/>
                  <a:lstStyle/>
                  <a:p>
                    <a:r>
                      <a:t>16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Liquido 50+ 125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242.81</c:v>
                </c:pt>
                <c:pt idx="1">
                  <c:v>280.19</c:v>
                </c:pt>
                <c:pt idx="2">
                  <c:v>230.57</c:v>
                </c:pt>
                <c:pt idx="3">
                  <c:v>238.78</c:v>
                </c:pt>
                <c:pt idx="4">
                  <c:v>406.0</c:v>
                </c:pt>
                <c:pt idx="5">
                  <c:v>287.0</c:v>
                </c:pt>
                <c:pt idx="6">
                  <c:v>287.0</c:v>
                </c:pt>
                <c:pt idx="7">
                  <c:v>301.2</c:v>
                </c:pt>
                <c:pt idx="8">
                  <c:v>186.88</c:v>
                </c:pt>
                <c:pt idx="9">
                  <c:v>336.8</c:v>
                </c:pt>
                <c:pt idx="10">
                  <c:v>297.49</c:v>
                </c:pt>
                <c:pt idx="11">
                  <c:v>176.01</c:v>
                </c:pt>
                <c:pt idx="12">
                  <c:v>1206.0</c:v>
                </c:pt>
                <c:pt idx="13">
                  <c:v>287.88</c:v>
                </c:pt>
                <c:pt idx="14">
                  <c:v>739.0</c:v>
                </c:pt>
                <c:pt idx="15">
                  <c:v>250.43</c:v>
                </c:pt>
                <c:pt idx="16">
                  <c:v>16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8.77</a:t>
                    </a:r>
                  </a:p>
                </c:rich>
              </c:tx>
              <c:showLegendKey val="0"/>
              <c:showVal val="1"/>
              <c:showCatName val="0"/>
              <c:showSerName val="0"/>
              <c:showPercent val="0"/>
              <c:showBubbleSize val="0"/>
            </c:dLbl>
            <c:dLbl>
              <c:idx val="1"/>
              <c:tx>
                <c:rich>
                  <a:bodyPr/>
                  <a:lstStyle/>
                  <a:p>
                    <a:r>
                      <a:t>342.71</a:t>
                    </a:r>
                  </a:p>
                </c:rich>
              </c:tx>
              <c:showLegendKey val="0"/>
              <c:showVal val="1"/>
              <c:showCatName val="0"/>
              <c:showSerName val="0"/>
              <c:showPercent val="0"/>
              <c:showBubbleSize val="0"/>
            </c:dLbl>
            <c:dLbl>
              <c:idx val="2"/>
              <c:tx>
                <c:rich>
                  <a:bodyPr/>
                  <a:lstStyle/>
                  <a:p>
                    <a:r>
                      <a:t>331.67</a:t>
                    </a:r>
                  </a:p>
                </c:rich>
              </c:tx>
              <c:showLegendKey val="0"/>
              <c:showVal val="1"/>
              <c:showCatName val="0"/>
              <c:showSerName val="0"/>
              <c:showPercent val="0"/>
              <c:showBubbleSize val="0"/>
            </c:dLbl>
            <c:dLbl>
              <c:idx val="3"/>
              <c:tx>
                <c:rich>
                  <a:bodyPr/>
                  <a:lstStyle/>
                  <a:p>
                    <a:r>
                      <a:t>324.11</a:t>
                    </a:r>
                  </a:p>
                </c:rich>
              </c:tx>
              <c:showLegendKey val="0"/>
              <c:showVal val="1"/>
              <c:showCatName val="0"/>
              <c:showSerName val="0"/>
              <c:showPercent val="0"/>
              <c:showBubbleSize val="0"/>
            </c:dLbl>
            <c:dLbl>
              <c:idx val="4"/>
              <c:tx>
                <c:rich>
                  <a:bodyPr/>
                  <a:lstStyle/>
                  <a:p>
                    <a:r>
                      <a:t>285.08</a:t>
                    </a:r>
                  </a:p>
                </c:rich>
              </c:tx>
              <c:showLegendKey val="0"/>
              <c:showVal val="1"/>
              <c:showCatName val="0"/>
              <c:showSerName val="0"/>
              <c:showPercent val="0"/>
              <c:showBubbleSize val="0"/>
            </c:dLbl>
            <c:dLbl>
              <c:idx val="5"/>
              <c:tx>
                <c:rich>
                  <a:bodyPr/>
                  <a:lstStyle/>
                  <a:p>
                    <a:r>
                      <a:t>411.64</a:t>
                    </a:r>
                  </a:p>
                </c:rich>
              </c:tx>
              <c:showLegendKey val="0"/>
              <c:showVal val="1"/>
              <c:showCatName val="0"/>
              <c:showSerName val="0"/>
              <c:showPercent val="0"/>
              <c:showBubbleSize val="0"/>
            </c:dLbl>
            <c:dLbl>
              <c:idx val="6"/>
              <c:tx>
                <c:rich>
                  <a:bodyPr/>
                  <a:lstStyle/>
                  <a:p>
                    <a:r>
                      <a:t>447.68</a:t>
                    </a:r>
                  </a:p>
                </c:rich>
              </c:tx>
              <c:showLegendKey val="0"/>
              <c:showVal val="1"/>
              <c:showCatName val="0"/>
              <c:showSerName val="0"/>
              <c:showPercent val="0"/>
              <c:showBubbleSize val="0"/>
            </c:dLbl>
            <c:dLbl>
              <c:idx val="7"/>
              <c:tx>
                <c:rich>
                  <a:bodyPr/>
                  <a:lstStyle/>
                  <a:p>
                    <a:r>
                      <a:t>49.31</a:t>
                    </a:r>
                  </a:p>
                </c:rich>
              </c:tx>
              <c:showLegendKey val="0"/>
              <c:showVal val="1"/>
              <c:showCatName val="0"/>
              <c:showSerName val="0"/>
              <c:showPercent val="0"/>
              <c:showBubbleSize val="0"/>
            </c:dLbl>
            <c:dLbl>
              <c:idx val="8"/>
              <c:tx>
                <c:rich>
                  <a:bodyPr/>
                  <a:lstStyle/>
                  <a:p>
                    <a:r>
                      <a:t>204.11</a:t>
                    </a:r>
                  </a:p>
                </c:rich>
              </c:tx>
              <c:showLegendKey val="0"/>
              <c:showVal val="1"/>
              <c:showCatName val="0"/>
              <c:showSerName val="0"/>
              <c:showPercent val="0"/>
              <c:showBubbleSize val="0"/>
            </c:dLbl>
            <c:dLbl>
              <c:idx val="9"/>
              <c:tx>
                <c:rich>
                  <a:bodyPr/>
                  <a:lstStyle/>
                  <a:p>
                    <a:r>
                      <a:t>367.0</a:t>
                    </a:r>
                  </a:p>
                </c:rich>
              </c:tx>
              <c:showLegendKey val="0"/>
              <c:showVal val="1"/>
              <c:showCatName val="0"/>
              <c:showSerName val="0"/>
              <c:showPercent val="0"/>
              <c:showBubbleSize val="0"/>
            </c:dLbl>
            <c:dLbl>
              <c:idx val="10"/>
              <c:tx>
                <c:rich>
                  <a:bodyPr/>
                  <a:lstStyle/>
                  <a:p>
                    <a:r>
                      <a:t>244.9</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dLbl>
              <c:idx val="12"/>
              <c:tx>
                <c:rich>
                  <a:bodyPr/>
                  <a:lstStyle/>
                  <a:p>
                    <a:r>
                      <a:t>270.0</a:t>
                    </a:r>
                  </a:p>
                </c:rich>
              </c:tx>
              <c:showLegendKey val="0"/>
              <c:showVal val="1"/>
              <c:showCatName val="0"/>
              <c:showSerName val="0"/>
              <c:showPercent val="0"/>
              <c:showBubbleSize val="0"/>
            </c:dLbl>
            <c:dLbl>
              <c:idx val="13"/>
              <c:tx>
                <c:rich>
                  <a:bodyPr/>
                  <a:lstStyle/>
                  <a:p>
                    <a:r>
                      <a:t>195.0</a:t>
                    </a:r>
                  </a:p>
                </c:rich>
              </c:tx>
              <c:showLegendKey val="0"/>
              <c:showVal val="1"/>
              <c:showCatName val="0"/>
              <c:showSerName val="0"/>
              <c:showPercent val="0"/>
              <c:showBubbleSize val="0"/>
            </c:dLbl>
            <c:dLbl>
              <c:idx val="14"/>
              <c:tx>
                <c:rich>
                  <a:bodyPr/>
                  <a:lstStyle/>
                  <a:p>
                    <a:r>
                      <a:t>250.0</a:t>
                    </a:r>
                  </a:p>
                </c:rich>
              </c:tx>
              <c:showLegendKey val="0"/>
              <c:showVal val="1"/>
              <c:showCatName val="0"/>
              <c:showSerName val="0"/>
              <c:showPercent val="0"/>
              <c:showBubbleSize val="0"/>
            </c:dLbl>
            <c:dLbl>
              <c:idx val="15"/>
              <c:tx>
                <c:rich>
                  <a:bodyPr/>
                  <a:lstStyle/>
                  <a:p>
                    <a:r>
                      <a:t>150.0</a:t>
                    </a:r>
                  </a:p>
                </c:rich>
              </c:tx>
              <c:showLegendKey val="0"/>
              <c:showVal val="1"/>
              <c:showCatName val="0"/>
              <c:showSerName val="0"/>
              <c:showPercent val="0"/>
              <c:showBubbleSize val="0"/>
            </c:dLbl>
            <c:dLbl>
              <c:idx val="16"/>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Mineral Sunscreen Adults Cosmetics Locion 50 180Ml</c:v>
                </c:pt>
                <c:pt idx="4">
                  <c:v>Edgewell Banana Boat Mineral Sunscreen Adults Cosmetics Locion 50 60Ml</c:v>
                </c:pt>
                <c:pt idx="5">
                  <c:v>Labs. Expanscience Mustela Sunscreen Kids Cosmetics Locion 50+ 40Ml</c:v>
                </c:pt>
                <c:pt idx="6">
                  <c:v>Labs. Expanscience Mustela Sunscreen Baby Cosmetics Locion 50+ 100Ml</c:v>
                </c:pt>
                <c:pt idx="7">
                  <c:v>Others Fabricante Unif. Others Marca Unif. Sunscreen Adults Cosmetics Locion 50+ 35Ml</c:v>
                </c:pt>
                <c:pt idx="8">
                  <c:v>Others Fabricante Unif. Others Marca Unif. Sunscreen Adults Cosmetics Locion 50 100Ml</c:v>
                </c:pt>
                <c:pt idx="9">
                  <c:v>Others Fabricante Unif. Others Marca Unif. Sunscreen Kids Cosmetics Locion 50+ 177Ml</c:v>
                </c:pt>
                <c:pt idx="10">
                  <c:v>Others Fabricante Unif. Others Marca Unif. Sunscreen Baby Cosmetics Locion 50+ 100Ml</c:v>
                </c:pt>
                <c:pt idx="11">
                  <c:v>Others Fabricante Unif. Others Marca Unif. Sunscreen Kids Cosmetics Spray Locion 30 - 49 200Ml</c:v>
                </c:pt>
                <c:pt idx="12">
                  <c:v>Sun &amp; Skin Care Research No-Ad Sunscreen Adults Cosmetics Locion 50+ 250Ml</c:v>
                </c:pt>
                <c:pt idx="13">
                  <c:v>Sun &amp; Skin Care Research No-Ad Sunscreen Adults Cosmetics Locion 50+ 89Ml</c:v>
                </c:pt>
                <c:pt idx="14">
                  <c:v>Sun &amp; Skin Care Research No-Ad Sunscreen Adults Cosmetics Locion 60 250Ml</c:v>
                </c:pt>
                <c:pt idx="15">
                  <c:v>Sun &amp; Skin Care Research No-Ad Sunscreen Adults Cosmetics Locion 50 89Ml</c:v>
                </c:pt>
                <c:pt idx="16">
                  <c:v>Sun &amp; Skin Care Research No-Ad Sunscreen Adults Cosmetics Locion 30 - 49 89Ml</c:v>
                </c:pt>
              </c:strCache>
            </c:strRef>
          </c:cat>
          <c:val>
            <c:numRef>
              <c:f>Sheet1!$B$2:$B$18</c:f>
              <c:numCache>
                <c:formatCode>General</c:formatCode>
                <c:ptCount val="17"/>
                <c:pt idx="0">
                  <c:v>258.77</c:v>
                </c:pt>
                <c:pt idx="1">
                  <c:v>342.71</c:v>
                </c:pt>
                <c:pt idx="2">
                  <c:v>331.67</c:v>
                </c:pt>
                <c:pt idx="3">
                  <c:v>324.11</c:v>
                </c:pt>
                <c:pt idx="4">
                  <c:v>285.08</c:v>
                </c:pt>
                <c:pt idx="5">
                  <c:v>411.64</c:v>
                </c:pt>
                <c:pt idx="6">
                  <c:v>447.68</c:v>
                </c:pt>
                <c:pt idx="7">
                  <c:v>49.31</c:v>
                </c:pt>
                <c:pt idx="8">
                  <c:v>204.11</c:v>
                </c:pt>
                <c:pt idx="9">
                  <c:v>367.0</c:v>
                </c:pt>
                <c:pt idx="10">
                  <c:v>244.9</c:v>
                </c:pt>
                <c:pt idx="11">
                  <c:v>354.77</c:v>
                </c:pt>
                <c:pt idx="12">
                  <c:v>270.0</c:v>
                </c:pt>
                <c:pt idx="13">
                  <c:v>195.0</c:v>
                </c:pt>
                <c:pt idx="14">
                  <c:v>250.0</c:v>
                </c:pt>
                <c:pt idx="15">
                  <c:v>150.0</c:v>
                </c:pt>
                <c:pt idx="16">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4.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37.72</a:t>
                    </a:r>
                  </a:p>
                </c:rich>
              </c:tx>
              <c:showLegendKey val="0"/>
              <c:showVal val="1"/>
              <c:showCatName val="0"/>
              <c:showSerName val="0"/>
              <c:showPercent val="0"/>
              <c:showBubbleSize val="0"/>
            </c:dLbl>
            <c:dLbl>
              <c:idx val="2"/>
              <c:tx>
                <c:rich>
                  <a:bodyPr/>
                  <a:lstStyle/>
                  <a:p>
                    <a:r>
                      <a:t>379.25</a:t>
                    </a:r>
                  </a:p>
                </c:rich>
              </c:tx>
              <c:showLegendKey val="0"/>
              <c:showVal val="1"/>
              <c:showCatName val="0"/>
              <c:showSerName val="0"/>
              <c:showPercent val="0"/>
              <c:showBubbleSize val="0"/>
            </c:dLbl>
            <c:dLbl>
              <c:idx val="3"/>
              <c:tx>
                <c:rich>
                  <a:bodyPr/>
                  <a:lstStyle/>
                  <a:p>
                    <a:r>
                      <a:t>200.0</a:t>
                    </a:r>
                  </a:p>
                </c:rich>
              </c:tx>
              <c:showLegendKey val="0"/>
              <c:showVal val="1"/>
              <c:showCatName val="0"/>
              <c:showSerName val="0"/>
              <c:showPercent val="0"/>
              <c:showBubbleSize val="0"/>
            </c:dLbl>
            <c:dLbl>
              <c:idx val="4"/>
              <c:tx>
                <c:rich>
                  <a:bodyPr/>
                  <a:lstStyle/>
                  <a:p>
                    <a:r>
                      <a:t>290.98</a:t>
                    </a:r>
                  </a:p>
                </c:rich>
              </c:tx>
              <c:showLegendKey val="0"/>
              <c:showVal val="1"/>
              <c:showCatName val="0"/>
              <c:showSerName val="0"/>
              <c:showPercent val="0"/>
              <c:showBubbleSize val="0"/>
            </c:dLbl>
            <c:dLbl>
              <c:idx val="5"/>
              <c:tx>
                <c:rich>
                  <a:bodyPr/>
                  <a:lstStyle/>
                  <a:p>
                    <a:r>
                      <a:t>350.38</a:t>
                    </a:r>
                  </a:p>
                </c:rich>
              </c:tx>
              <c:showLegendKey val="0"/>
              <c:showVal val="1"/>
              <c:showCatName val="0"/>
              <c:showSerName val="0"/>
              <c:showPercent val="0"/>
              <c:showBubbleSize val="0"/>
            </c:dLbl>
            <c:dLbl>
              <c:idx val="6"/>
              <c:tx>
                <c:rich>
                  <a:bodyPr/>
                  <a:lstStyle/>
                  <a:p>
                    <a:r>
                      <a:t>303.8</a:t>
                    </a:r>
                  </a:p>
                </c:rich>
              </c:tx>
              <c:showLegendKey val="0"/>
              <c:showVal val="1"/>
              <c:showCatName val="0"/>
              <c:showSerName val="0"/>
              <c:showPercent val="0"/>
              <c:showBubbleSize val="0"/>
            </c:dLbl>
            <c:dLbl>
              <c:idx val="7"/>
              <c:tx>
                <c:rich>
                  <a:bodyPr/>
                  <a:lstStyle/>
                  <a:p>
                    <a:r>
                      <a:t>398.0</a:t>
                    </a:r>
                  </a:p>
                </c:rich>
              </c:tx>
              <c:showLegendKey val="0"/>
              <c:showVal val="1"/>
              <c:showCatName val="0"/>
              <c:showSerName val="0"/>
              <c:showPercent val="0"/>
              <c:showBubbleSize val="0"/>
            </c:dLbl>
            <c:dLbl>
              <c:idx val="8"/>
              <c:tx>
                <c:rich>
                  <a:bodyPr/>
                  <a:lstStyle/>
                  <a:p>
                    <a:r>
                      <a:t>357.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80.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Others Fabricante Unif. Others Marca Unif. Sunscreen Adults Cosmetics Spray 50+ 170Ml</c:v>
                </c:pt>
                <c:pt idx="4">
                  <c:v>Others Fabricante Unif. Others Marca Unif. Sunscreen Kids Cosmetics Spray 50 200Ml</c:v>
                </c:pt>
                <c:pt idx="5">
                  <c:v>Australian Gold Australian Gold Sunscreen Adults Cosmetics Spray 15 - 19 170Ml</c:v>
                </c:pt>
                <c:pt idx="6">
                  <c:v>Sun &amp; Skin Care Research Ocean Potion Sunscreen Adults Cosmetics Spray 30 - 49 156Ml</c:v>
                </c:pt>
                <c:pt idx="7">
                  <c:v>Sun &amp; Skin Care Research Ocean Potion Sunscreen Adults Cosmetics Spray 50+ 156Ml</c:v>
                </c:pt>
                <c:pt idx="8">
                  <c:v>Australian Gold Australian Gold Sunscreen Kids Cosmetics Spray 50 170Ml</c:v>
                </c:pt>
                <c:pt idx="9">
                  <c:v>Sun &amp; Skin Care Research Ocean Potion Sunscreen Adults Cosmetics Spray 50 156Ml</c:v>
                </c:pt>
                <c:pt idx="10">
                  <c:v>Others Fabricante Unif. Others Marca Unif. Sunscreen Adults Cosmetics Spray 50+ 200Ml</c:v>
                </c:pt>
                <c:pt idx="11">
                  <c:v>Sun &amp; Skin Care Research Ocean Potion Sunscreen Kids Cosmetics Spray 50 156Ml</c:v>
                </c:pt>
                <c:pt idx="12">
                  <c:v>Others Fabricante Unif. Others Marca Unif. Sunscreen Adults Cosmetics Spray 50+ 50Ml</c:v>
                </c:pt>
              </c:strCache>
            </c:strRef>
          </c:cat>
          <c:val>
            <c:numRef>
              <c:f>Sheet1!$B$2:$B$14</c:f>
              <c:numCache>
                <c:formatCode>General</c:formatCode>
                <c:ptCount val="13"/>
                <c:pt idx="0">
                  <c:v>310.0</c:v>
                </c:pt>
                <c:pt idx="1">
                  <c:v>237.72</c:v>
                </c:pt>
                <c:pt idx="2">
                  <c:v>379.25</c:v>
                </c:pt>
                <c:pt idx="3">
                  <c:v>200.0</c:v>
                </c:pt>
                <c:pt idx="4">
                  <c:v>290.98</c:v>
                </c:pt>
                <c:pt idx="5">
                  <c:v>350.38</c:v>
                </c:pt>
                <c:pt idx="6">
                  <c:v>303.8</c:v>
                </c:pt>
                <c:pt idx="7">
                  <c:v>398.0</c:v>
                </c:pt>
                <c:pt idx="8">
                  <c:v>357.0</c:v>
                </c:pt>
                <c:pt idx="9">
                  <c:v>310.0</c:v>
                </c:pt>
                <c:pt idx="10">
                  <c:v>80.0</c:v>
                </c:pt>
                <c:pt idx="11">
                  <c:v>310.0</c:v>
                </c:pt>
                <c:pt idx="12">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297.2</a:t>
                    </a:r>
                  </a:p>
                </c:rich>
              </c:tx>
              <c:showLegendKey val="0"/>
              <c:showVal val="1"/>
              <c:showCatName val="0"/>
              <c:showSerName val="0"/>
              <c:showPercent val="0"/>
              <c:showBubbleSize val="0"/>
            </c:dLbl>
            <c:dLbl>
              <c:idx val="2"/>
              <c:tx>
                <c:rich>
                  <a:bodyPr/>
                  <a:lstStyle/>
                  <a:p>
                    <a:r>
                      <a:t>86.89</a:t>
                    </a:r>
                  </a:p>
                </c:rich>
              </c:tx>
              <c:showLegendKey val="0"/>
              <c:showVal val="1"/>
              <c:showCatName val="0"/>
              <c:showSerName val="0"/>
              <c:showPercent val="0"/>
              <c:showBubbleSize val="0"/>
            </c:dLbl>
            <c:dLbl>
              <c:idx val="3"/>
              <c:tx>
                <c:rich>
                  <a:bodyPr/>
                  <a:lstStyle/>
                  <a:p>
                    <a:r>
                      <a:t>81.53</a:t>
                    </a:r>
                  </a:p>
                </c:rich>
              </c:tx>
              <c:showLegendKey val="0"/>
              <c:showVal val="1"/>
              <c:showCatName val="0"/>
              <c:showSerName val="0"/>
              <c:showPercent val="0"/>
              <c:showBubbleSize val="0"/>
            </c:dLbl>
            <c:dLbl>
              <c:idx val="4"/>
              <c:tx>
                <c:rich>
                  <a:bodyPr/>
                  <a:lstStyle/>
                  <a:p>
                    <a:r>
                      <a:t>369.83</a:t>
                    </a:r>
                  </a:p>
                </c:rich>
              </c:tx>
              <c:showLegendKey val="0"/>
              <c:showVal val="1"/>
              <c:showCatName val="0"/>
              <c:showSerName val="0"/>
              <c:showPercent val="0"/>
              <c:showBubbleSize val="0"/>
            </c:dLbl>
            <c:dLbl>
              <c:idx val="5"/>
              <c:tx>
                <c:rich>
                  <a:bodyPr/>
                  <a:lstStyle/>
                  <a:p>
                    <a:r>
                      <a:t>245.0</a:t>
                    </a:r>
                  </a:p>
                </c:rich>
              </c:tx>
              <c:showLegendKey val="0"/>
              <c:showVal val="1"/>
              <c:showCatName val="0"/>
              <c:showSerName val="0"/>
              <c:showPercent val="0"/>
              <c:showBubbleSize val="0"/>
            </c:dLbl>
            <c:dLbl>
              <c:idx val="6"/>
              <c:tx>
                <c:rich>
                  <a:bodyPr/>
                  <a:lstStyle/>
                  <a:p>
                    <a:r>
                      <a:t>74.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Others Fabricante Unif. Others Marca Unif. Sunscreen Adults Sport Crema 50 177Ml</c:v>
                </c:pt>
                <c:pt idx="5">
                  <c:v>Sun &amp; Skin Care Research No-Ad Sunscreen Adults Sport Crema 50 250Ml</c:v>
                </c:pt>
                <c:pt idx="6">
                  <c:v>Others Fabricante Unif. Others Marca Unif. Sunscreen Adults Sport Crema 50+ 150Ml</c:v>
                </c:pt>
              </c:strCache>
            </c:strRef>
          </c:cat>
          <c:val>
            <c:numRef>
              <c:f>Sheet1!$B$2:$B$8</c:f>
              <c:numCache>
                <c:formatCode>General</c:formatCode>
                <c:ptCount val="7"/>
                <c:pt idx="0">
                  <c:v>296.61</c:v>
                </c:pt>
                <c:pt idx="1">
                  <c:v>297.2</c:v>
                </c:pt>
                <c:pt idx="2">
                  <c:v>86.89</c:v>
                </c:pt>
                <c:pt idx="3">
                  <c:v>81.53</c:v>
                </c:pt>
                <c:pt idx="4">
                  <c:v>369.83</c:v>
                </c:pt>
                <c:pt idx="5">
                  <c:v>245.0</c:v>
                </c:pt>
                <c:pt idx="6">
                  <c:v>7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5</a:t>
                    </a:r>
                  </a:p>
                </c:rich>
              </c:tx>
              <c:showLegendKey val="0"/>
              <c:showVal val="1"/>
              <c:showCatName val="0"/>
              <c:showSerName val="0"/>
              <c:showPercent val="0"/>
              <c:showBubbleSize val="0"/>
            </c:dLbl>
            <c:dLbl>
              <c:idx val="1"/>
              <c:tx>
                <c:rich>
                  <a:bodyPr/>
                  <a:lstStyle/>
                  <a:p>
                    <a:r>
                      <a:t>325.25</a:t>
                    </a:r>
                  </a:p>
                </c:rich>
              </c:tx>
              <c:showLegendKey val="0"/>
              <c:showVal val="1"/>
              <c:showCatName val="0"/>
              <c:showSerName val="0"/>
              <c:showPercent val="0"/>
              <c:showBubbleSize val="0"/>
            </c:dLbl>
            <c:dLbl>
              <c:idx val="2"/>
              <c:tx>
                <c:rich>
                  <a:bodyPr/>
                  <a:lstStyle/>
                  <a:p>
                    <a:r>
                      <a:t>86.25</a:t>
                    </a:r>
                  </a:p>
                </c:rich>
              </c:tx>
              <c:showLegendKey val="0"/>
              <c:showVal val="1"/>
              <c:showCatName val="0"/>
              <c:showSerName val="0"/>
              <c:showPercent val="0"/>
              <c:showBubbleSize val="0"/>
            </c:dLbl>
            <c:dLbl>
              <c:idx val="3"/>
              <c:tx>
                <c:rich>
                  <a:bodyPr/>
                  <a:lstStyle/>
                  <a:p>
                    <a:r>
                      <a:t>24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Australian Gold Australian Gold Sunscreen Adults Sport Liquido 30 - 49 200Ml</c:v>
                </c:pt>
              </c:strCache>
            </c:strRef>
          </c:cat>
          <c:val>
            <c:numRef>
              <c:f>Sheet1!$B$2:$B$5</c:f>
              <c:numCache>
                <c:formatCode>General</c:formatCode>
                <c:ptCount val="4"/>
                <c:pt idx="0">
                  <c:v>305.15</c:v>
                </c:pt>
                <c:pt idx="1">
                  <c:v>325.25</c:v>
                </c:pt>
                <c:pt idx="2">
                  <c:v>86.25</c:v>
                </c:pt>
                <c:pt idx="3">
                  <c:v>24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75</a:t>
                    </a:r>
                  </a:p>
                </c:rich>
              </c:tx>
              <c:dLblPos val="t"/>
              <c:showLegendKey val="0"/>
              <c:showVal val="1"/>
              <c:showCatName val="0"/>
              <c:showSerName val="0"/>
              <c:showPercent val="0"/>
              <c:showBubbleSize val="0"/>
            </c:dLbl>
            <c:dLbl>
              <c:idx val="1"/>
              <c:tx>
                <c:rich>
                  <a:bodyPr/>
                  <a:lstStyle/>
                  <a:p>
                    <a:r>
                      <a:t>253.23</a:t>
                    </a:r>
                  </a:p>
                </c:rich>
              </c:tx>
              <c:dLblPos val="t"/>
              <c:showLegendKey val="0"/>
              <c:showVal val="1"/>
              <c:showCatName val="0"/>
              <c:showSerName val="0"/>
              <c:showPercent val="0"/>
              <c:showBubbleSize val="0"/>
            </c:dLbl>
            <c:dLbl>
              <c:idx val="2"/>
              <c:tx>
                <c:rich>
                  <a:bodyPr/>
                  <a:lstStyle/>
                  <a:p>
                    <a:r>
                      <a:t>281.29</a:t>
                    </a:r>
                  </a:p>
                </c:rich>
              </c:tx>
              <c:dLblPos val="t"/>
              <c:showLegendKey val="0"/>
              <c:showVal val="1"/>
              <c:showCatName val="0"/>
              <c:showSerName val="0"/>
              <c:showPercent val="0"/>
              <c:showBubbleSize val="0"/>
            </c:dLbl>
            <c:dLbl>
              <c:idx val="3"/>
              <c:tx>
                <c:rich>
                  <a:bodyPr/>
                  <a:lstStyle/>
                  <a:p>
                    <a:r>
                      <a:t>72.25</a:t>
                    </a:r>
                  </a:p>
                </c:rich>
              </c:tx>
              <c:dLblPos val="t"/>
              <c:showLegendKey val="0"/>
              <c:showVal val="1"/>
              <c:showCatName val="0"/>
              <c:showSerName val="0"/>
              <c:showPercent val="0"/>
              <c:showBubbleSize val="0"/>
            </c:dLbl>
            <c:dLbl>
              <c:idx val="4"/>
              <c:tx>
                <c:rich>
                  <a:bodyPr/>
                  <a:lstStyle/>
                  <a:p>
                    <a:r>
                      <a:t>244.51</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18.42</a:t>
                    </a:r>
                  </a:p>
                </c:rich>
              </c:tx>
              <c:dLblPos val="t"/>
              <c:showLegendKey val="0"/>
              <c:showVal val="1"/>
              <c:showCatName val="0"/>
              <c:showSerName val="0"/>
              <c:showPercent val="0"/>
              <c:showBubbleSize val="0"/>
            </c:dLbl>
            <c:dLbl>
              <c:idx val="7"/>
              <c:tx>
                <c:rich>
                  <a:bodyPr/>
                  <a:lstStyle/>
                  <a:p>
                    <a:r>
                      <a:t>220.0</a:t>
                    </a:r>
                  </a:p>
                </c:rich>
              </c:tx>
              <c:dLblPos val="t"/>
              <c:showLegendKey val="0"/>
              <c:showVal val="1"/>
              <c:showCatName val="0"/>
              <c:showSerName val="0"/>
              <c:showPercent val="0"/>
              <c:showBubbleSize val="0"/>
            </c:dLbl>
            <c:dLbl>
              <c:idx val="8"/>
              <c:tx>
                <c:rich>
                  <a:bodyPr/>
                  <a:lstStyle/>
                  <a:p>
                    <a:r>
                      <a:t>258.0</a:t>
                    </a:r>
                  </a:p>
                </c:rich>
              </c:tx>
              <c:dLblPos val="t"/>
              <c:showLegendKey val="0"/>
              <c:showVal val="1"/>
              <c:showCatName val="0"/>
              <c:showSerName val="0"/>
              <c:showPercent val="0"/>
              <c:showBubbleSize val="0"/>
            </c:dLbl>
            <c:dLbl>
              <c:idx val="9"/>
              <c:tx>
                <c:rich>
                  <a:bodyPr/>
                  <a:lstStyle/>
                  <a:p>
                    <a:r>
                      <a:t>279.12</a:t>
                    </a:r>
                  </a:p>
                </c:rich>
              </c:tx>
              <c:dLblPos val="t"/>
              <c:showLegendKey val="0"/>
              <c:showVal val="1"/>
              <c:showCatName val="0"/>
              <c:showSerName val="0"/>
              <c:showPercent val="0"/>
              <c:showBubbleSize val="0"/>
            </c:dLbl>
            <c:dLbl>
              <c:idx val="10"/>
              <c:tx>
                <c:rich>
                  <a:bodyPr/>
                  <a:lstStyle/>
                  <a:p>
                    <a:r>
                      <a:t>88.0</a:t>
                    </a:r>
                  </a:p>
                </c:rich>
              </c:tx>
              <c:dLblPos val="t"/>
              <c:showLegendKey val="0"/>
              <c:showVal val="1"/>
              <c:showCatName val="0"/>
              <c:showSerName val="0"/>
              <c:showPercent val="0"/>
              <c:showBubbleSize val="0"/>
            </c:dLbl>
            <c:dLbl>
              <c:idx val="11"/>
              <c:tx>
                <c:rich>
                  <a:bodyPr/>
                  <a:lstStyle/>
                  <a:p>
                    <a:r>
                      <a:t>235.9</a:t>
                    </a:r>
                  </a:p>
                </c:rich>
              </c:tx>
              <c:dLblPos val="t"/>
              <c:showLegendKey val="0"/>
              <c:showVal val="1"/>
              <c:showCatName val="0"/>
              <c:showSerName val="0"/>
              <c:showPercent val="0"/>
              <c:showBubbleSize val="0"/>
            </c:dLbl>
            <c:dLbl>
              <c:idx val="12"/>
              <c:tx>
                <c:rich>
                  <a:bodyPr/>
                  <a:lstStyle/>
                  <a:p>
                    <a:r>
                      <a:t>175.6</a:t>
                    </a:r>
                  </a:p>
                </c:rich>
              </c:tx>
              <c:dLblPos val="t"/>
              <c:showLegendKey val="0"/>
              <c:showVal val="1"/>
              <c:showCatName val="0"/>
              <c:showSerName val="0"/>
              <c:showPercent val="0"/>
              <c:showBubbleSize val="0"/>
            </c:dLbl>
            <c:dLbl>
              <c:idx val="13"/>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Island Sport Sunscreen Adults Sport Liquido 50 240Ml</c:v>
                </c:pt>
                <c:pt idx="2">
                  <c:v>Edgewell Hawaiian Tropic Ozono Sunscreen Adults Cosmetics Liquido 50+ 180Ml</c:v>
                </c:pt>
                <c:pt idx="3">
                  <c:v>Edgewell Hawaiian Tropic Island Sport Sunscreen Adults Sport Liquido 50 60Ml</c:v>
                </c:pt>
                <c:pt idx="4">
                  <c:v>Edgewell Hawaiian Tropic Ozono Sunscreen Adults Cosmetics Liquido 50+ 240Ml</c:v>
                </c:pt>
                <c:pt idx="5">
                  <c:v>Edgewell Hawaiian Tropic Sheer Touch Sunscreen Adults Cosmetics Liquido 30 - 49 60Ml</c:v>
                </c:pt>
                <c:pt idx="6">
                  <c:v>Edgewell Hawaiian Tropic Sheer Touch Sunscreen Adults Cosmetics Crema 50 120Ml</c:v>
                </c:pt>
                <c:pt idx="7">
                  <c:v>Edgewell Hawaiian Tropic Island Sport Sunscreen Adults Sport Spray Liquido 50 220Ml</c:v>
                </c:pt>
                <c:pt idx="8">
                  <c:v>Edgewell Hawaiian Tropic Baby Sunscreen Baby Cosmetics Crema 50+ 240Ml</c:v>
                </c:pt>
                <c:pt idx="9">
                  <c:v>Edgewell Hawaiian Tropic Ozono Sunscreen Adults Cosmetics Spray Liquido 50+ 180Ml</c:v>
                </c:pt>
                <c:pt idx="10">
                  <c:v>Edgewell Hawaiian Tropic Ozono Sunscreen Adults Cosmetics Liquido 50+ 90Ml</c:v>
                </c:pt>
                <c:pt idx="11">
                  <c:v>Edgewell Hawaiian Tropic Other Sunscreen Adults Cosmetics Liquido 50 60Ml</c:v>
                </c:pt>
                <c:pt idx="12">
                  <c:v>Edgewell Hawaiian Tropic After Sun After Sun Adults Cosmetics Gel 0 - 5 240Ml</c:v>
                </c:pt>
                <c:pt idx="13">
                  <c:v>Edgewell Hawaiian Tropic After Sun After Sun Adults Cosmetics Crema 0 - 5 180Ml</c:v>
                </c:pt>
              </c:strCache>
            </c:strRef>
          </c:cat>
          <c:val>
            <c:numRef>
              <c:f>Sheet1!$B$2:$B$15</c:f>
              <c:numCache>
                <c:formatCode>General</c:formatCode>
                <c:ptCount val="14"/>
                <c:pt idx="0">
                  <c:v>250.75</c:v>
                </c:pt>
                <c:pt idx="1">
                  <c:v>253.23</c:v>
                </c:pt>
                <c:pt idx="2">
                  <c:v>281.29</c:v>
                </c:pt>
                <c:pt idx="3">
                  <c:v>72.25</c:v>
                </c:pt>
                <c:pt idx="4">
                  <c:v>244.51</c:v>
                </c:pt>
                <c:pt idx="5">
                  <c:v>133.0</c:v>
                </c:pt>
                <c:pt idx="6">
                  <c:v>218.42</c:v>
                </c:pt>
                <c:pt idx="7">
                  <c:v>220.0</c:v>
                </c:pt>
                <c:pt idx="8">
                  <c:v>258.0</c:v>
                </c:pt>
                <c:pt idx="9">
                  <c:v>279.12</c:v>
                </c:pt>
                <c:pt idx="10">
                  <c:v>88.0</c:v>
                </c:pt>
                <c:pt idx="11">
                  <c:v>235.9</c:v>
                </c:pt>
                <c:pt idx="12">
                  <c:v>175.6</c:v>
                </c:pt>
                <c:pt idx="13">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86</a:t>
                    </a:r>
                  </a:p>
                </c:rich>
              </c:tx>
              <c:showLegendKey val="0"/>
              <c:showVal val="1"/>
              <c:showCatName val="0"/>
              <c:showSerName val="0"/>
              <c:showPercent val="0"/>
              <c:showBubbleSize val="0"/>
            </c:dLbl>
            <c:dLbl>
              <c:idx val="1"/>
              <c:tx>
                <c:rich>
                  <a:bodyPr/>
                  <a:lstStyle/>
                  <a:p>
                    <a:r>
                      <a:t>294.69</a:t>
                    </a:r>
                  </a:p>
                </c:rich>
              </c:tx>
              <c:showLegendKey val="0"/>
              <c:showVal val="1"/>
              <c:showCatName val="0"/>
              <c:showSerName val="0"/>
              <c:showPercent val="0"/>
              <c:showBubbleSize val="0"/>
            </c:dLbl>
            <c:dLbl>
              <c:idx val="2"/>
              <c:tx>
                <c:rich>
                  <a:bodyPr/>
                  <a:lstStyle/>
                  <a:p>
                    <a:r>
                      <a:t>262.76</a:t>
                    </a:r>
                  </a:p>
                </c:rich>
              </c:tx>
              <c:showLegendKey val="0"/>
              <c:showVal val="1"/>
              <c:showCatName val="0"/>
              <c:showSerName val="0"/>
              <c:showPercent val="0"/>
              <c:showBubbleSize val="0"/>
            </c:dLbl>
            <c:dLbl>
              <c:idx val="3"/>
              <c:tx>
                <c:rich>
                  <a:bodyPr/>
                  <a:lstStyle/>
                  <a:p>
                    <a:r>
                      <a:t>24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Liquido 50 220Ml</c:v>
                </c:pt>
                <c:pt idx="1">
                  <c:v>Edgewell Banana Boat Advanced Protection Sunscreen Adults Sport Spray Liquido 50+ 170Ml</c:v>
                </c:pt>
                <c:pt idx="2">
                  <c:v>Edgewell Banana Boat Advanced Protection Sunscreen Adults Sport Liquido 50 180Ml</c:v>
                </c:pt>
                <c:pt idx="3">
                  <c:v>Australian Gold Australian Gold Sunscreen Adults Sport Liquido 30 - 49 200Ml</c:v>
                </c:pt>
              </c:strCache>
            </c:strRef>
          </c:cat>
          <c:val>
            <c:numRef>
              <c:f>Sheet1!$B$2:$B$5</c:f>
              <c:numCache>
                <c:formatCode>General</c:formatCode>
                <c:ptCount val="4"/>
                <c:pt idx="0">
                  <c:v>302.86</c:v>
                </c:pt>
                <c:pt idx="1">
                  <c:v>294.69</c:v>
                </c:pt>
                <c:pt idx="2">
                  <c:v>262.76</c:v>
                </c:pt>
                <c:pt idx="3">
                  <c:v>24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48</a:t>
                    </a:r>
                  </a:p>
                </c:rich>
              </c:tx>
              <c:showLegendKey val="0"/>
              <c:showVal val="1"/>
              <c:showCatName val="0"/>
              <c:showSerName val="0"/>
              <c:showPercent val="0"/>
              <c:showBubbleSize val="0"/>
            </c:dLbl>
            <c:dLbl>
              <c:idx val="1"/>
              <c:tx>
                <c:rich>
                  <a:bodyPr/>
                  <a:lstStyle/>
                  <a:p>
                    <a:r>
                      <a:t>334.39</a:t>
                    </a:r>
                  </a:p>
                </c:rich>
              </c:tx>
              <c:showLegendKey val="0"/>
              <c:showVal val="1"/>
              <c:showCatName val="0"/>
              <c:showSerName val="0"/>
              <c:showPercent val="0"/>
              <c:showBubbleSize val="0"/>
            </c:dLbl>
            <c:dLbl>
              <c:idx val="2"/>
              <c:tx>
                <c:rich>
                  <a:bodyPr/>
                  <a:lstStyle/>
                  <a:p>
                    <a:r>
                      <a:t>82.19</a:t>
                    </a:r>
                  </a:p>
                </c:rich>
              </c:tx>
              <c:showLegendKey val="0"/>
              <c:showVal val="1"/>
              <c:showCatName val="0"/>
              <c:showSerName val="0"/>
              <c:showPercent val="0"/>
              <c:showBubbleSize val="0"/>
            </c:dLbl>
            <c:dLbl>
              <c:idx val="3"/>
              <c:tx>
                <c:rich>
                  <a:bodyPr/>
                  <a:lstStyle/>
                  <a:p>
                    <a:r>
                      <a:t>288.31</a:t>
                    </a:r>
                  </a:p>
                </c:rich>
              </c:tx>
              <c:showLegendKey val="0"/>
              <c:showVal val="1"/>
              <c:showCatName val="0"/>
              <c:showSerName val="0"/>
              <c:showPercent val="0"/>
              <c:showBubbleSize val="0"/>
            </c:dLbl>
            <c:dLbl>
              <c:idx val="4"/>
              <c:tx>
                <c:rich>
                  <a:bodyPr/>
                  <a:lstStyle/>
                  <a:p>
                    <a:r>
                      <a:t>378.69</a:t>
                    </a:r>
                  </a:p>
                </c:rich>
              </c:tx>
              <c:showLegendKey val="0"/>
              <c:showVal val="1"/>
              <c:showCatName val="0"/>
              <c:showSerName val="0"/>
              <c:showPercent val="0"/>
              <c:showBubbleSize val="0"/>
            </c:dLbl>
            <c:dLbl>
              <c:idx val="5"/>
              <c:tx>
                <c:rich>
                  <a:bodyPr/>
                  <a:lstStyle/>
                  <a:p>
                    <a:r>
                      <a:t>302.36</a:t>
                    </a:r>
                  </a:p>
                </c:rich>
              </c:tx>
              <c:showLegendKey val="0"/>
              <c:showVal val="1"/>
              <c:showCatName val="0"/>
              <c:showSerName val="0"/>
              <c:showPercent val="0"/>
              <c:showBubbleSize val="0"/>
            </c:dLbl>
            <c:dLbl>
              <c:idx val="6"/>
              <c:tx>
                <c:rich>
                  <a:bodyPr/>
                  <a:lstStyle/>
                  <a:p>
                    <a:r>
                      <a:t>181.64</a:t>
                    </a:r>
                  </a:p>
                </c:rich>
              </c:tx>
              <c:showLegendKey val="0"/>
              <c:showVal val="1"/>
              <c:showCatName val="0"/>
              <c:showSerName val="0"/>
              <c:showPercent val="0"/>
              <c:showBubbleSize val="0"/>
            </c:dLbl>
            <c:dLbl>
              <c:idx val="7"/>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170Ml</c:v>
                </c:pt>
                <c:pt idx="1">
                  <c:v>Edgewell Banana Boat Mineral Sunscreen Adults Sport Locion 50 180Ml</c:v>
                </c:pt>
                <c:pt idx="2">
                  <c:v>Edgewell Banana Boat Dry Balance Sunscreen Adults Sport Locion 50+ 60Ml</c:v>
                </c:pt>
                <c:pt idx="3">
                  <c:v>Others Fabricante Unif. Others Marca Unif. Sunscreen Adults Sport Spray Locion 50 200Ml</c:v>
                </c:pt>
                <c:pt idx="4">
                  <c:v>Australian Gold Australian Gold Sunscreen Adults Sport Spray Locion 30 170Ml</c:v>
                </c:pt>
                <c:pt idx="5">
                  <c:v>Australian Gold Australian Gold Sunscreen Adults Sport Locion 30 237Ml</c:v>
                </c:pt>
                <c:pt idx="6">
                  <c:v>Bayer Consumer Care Coppertone Sunscreen Adults Sport Locion 50 207Ml</c:v>
                </c:pt>
                <c:pt idx="7">
                  <c:v>Others Fabricante Unif. Others Marca Unif. Sunscreen Adults Sport Spray Locion 50+ 100Ml</c:v>
                </c:pt>
              </c:strCache>
            </c:strRef>
          </c:cat>
          <c:val>
            <c:numRef>
              <c:f>Sheet1!$B$2:$B$9</c:f>
              <c:numCache>
                <c:formatCode>General</c:formatCode>
                <c:ptCount val="8"/>
                <c:pt idx="0">
                  <c:v>311.48</c:v>
                </c:pt>
                <c:pt idx="1">
                  <c:v>334.39</c:v>
                </c:pt>
                <c:pt idx="2">
                  <c:v>82.19</c:v>
                </c:pt>
                <c:pt idx="3">
                  <c:v>288.31</c:v>
                </c:pt>
                <c:pt idx="4">
                  <c:v>378.69</c:v>
                </c:pt>
                <c:pt idx="5">
                  <c:v>302.36</c:v>
                </c:pt>
                <c:pt idx="6">
                  <c:v>181.64</c:v>
                </c:pt>
                <c:pt idx="7">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18.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5.64</a:t>
                    </a:r>
                  </a:p>
                </c:rich>
              </c:tx>
              <c:showLegendKey val="0"/>
              <c:showVal val="1"/>
              <c:showCatName val="0"/>
              <c:showSerName val="0"/>
              <c:showPercent val="0"/>
              <c:showBubbleSize val="0"/>
            </c:dLbl>
            <c:dLbl>
              <c:idx val="1"/>
              <c:tx>
                <c:rich>
                  <a:bodyPr/>
                  <a:lstStyle/>
                  <a:p>
                    <a:r>
                      <a:t>407.99</a:t>
                    </a:r>
                  </a:p>
                </c:rich>
              </c:tx>
              <c:showLegendKey val="0"/>
              <c:showVal val="1"/>
              <c:showCatName val="0"/>
              <c:showSerName val="0"/>
              <c:showPercent val="0"/>
              <c:showBubbleSize val="0"/>
            </c:dLbl>
            <c:dLbl>
              <c:idx val="2"/>
              <c:tx>
                <c:rich>
                  <a:bodyPr/>
                  <a:lstStyle/>
                  <a:p>
                    <a:r>
                      <a:t>333.63</a:t>
                    </a:r>
                  </a:p>
                </c:rich>
              </c:tx>
              <c:showLegendKey val="0"/>
              <c:showVal val="1"/>
              <c:showCatName val="0"/>
              <c:showSerName val="0"/>
              <c:showPercent val="0"/>
              <c:showBubbleSize val="0"/>
            </c:dLbl>
            <c:dLbl>
              <c:idx val="3"/>
              <c:tx>
                <c:rich>
                  <a:bodyPr/>
                  <a:lstStyle/>
                  <a:p>
                    <a:r>
                      <a:t>158.65</a:t>
                    </a:r>
                  </a:p>
                </c:rich>
              </c:tx>
              <c:showLegendKey val="0"/>
              <c:showVal val="1"/>
              <c:showCatName val="0"/>
              <c:showSerName val="0"/>
              <c:showPercent val="0"/>
              <c:showBubbleSize val="0"/>
            </c:dLbl>
            <c:dLbl>
              <c:idx val="4"/>
              <c:tx>
                <c:rich>
                  <a:bodyPr/>
                  <a:lstStyle/>
                  <a:p>
                    <a:r>
                      <a:t>1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Dry Balance Sunscreen Adults Sport Spray 50+ 170Ml</c:v>
                </c:pt>
                <c:pt idx="1">
                  <c:v>Australian Gold Australian Gold Sunscreen Adults Sport Spray 50 170Ml</c:v>
                </c:pt>
                <c:pt idx="2">
                  <c:v>Sun &amp; Skin Care Research Ocean Potion Sunscreen Adults Sport Spray 50 156Ml</c:v>
                </c:pt>
                <c:pt idx="3">
                  <c:v>Others Fabricante Unif. Others Marca Unif. Sunscreen Adults Sport Spray 50+ 170Ml</c:v>
                </c:pt>
                <c:pt idx="4">
                  <c:v>Others Fabricante Unif. Others Marca Unif. Sunscreen Adults Sport Spray 50+ 150Ml</c:v>
                </c:pt>
              </c:strCache>
            </c:strRef>
          </c:cat>
          <c:val>
            <c:numRef>
              <c:f>Sheet1!$B$2:$B$6</c:f>
              <c:numCache>
                <c:formatCode>General</c:formatCode>
                <c:ptCount val="5"/>
                <c:pt idx="0">
                  <c:v>335.64</c:v>
                </c:pt>
                <c:pt idx="1">
                  <c:v>407.99</c:v>
                </c:pt>
                <c:pt idx="2">
                  <c:v>333.63</c:v>
                </c:pt>
                <c:pt idx="3">
                  <c:v>158.65</c:v>
                </c:pt>
                <c:pt idx="4">
                  <c:v>1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55.91</a:t>
                    </a:r>
                  </a:p>
                </c:rich>
              </c:tx>
              <c:showLegendKey val="0"/>
              <c:showVal val="1"/>
              <c:showCatName val="0"/>
              <c:showSerName val="0"/>
              <c:showPercent val="0"/>
              <c:showBubbleSize val="0"/>
            </c:dLbl>
            <c:dLbl>
              <c:idx val="2"/>
              <c:tx>
                <c:rich>
                  <a:bodyPr/>
                  <a:lstStyle/>
                  <a:p>
                    <a:r>
                      <a:t>235.8</a:t>
                    </a:r>
                  </a:p>
                </c:rich>
              </c:tx>
              <c:showLegendKey val="0"/>
              <c:showVal val="1"/>
              <c:showCatName val="0"/>
              <c:showSerName val="0"/>
              <c:showPercent val="0"/>
              <c:showBubbleSize val="0"/>
            </c:dLbl>
            <c:dLbl>
              <c:idx val="3"/>
              <c:tx>
                <c:rich>
                  <a:bodyPr/>
                  <a:lstStyle/>
                  <a:p>
                    <a:r>
                      <a:t>371.44</a:t>
                    </a:r>
                  </a:p>
                </c:rich>
              </c:tx>
              <c:showLegendKey val="0"/>
              <c:showVal val="1"/>
              <c:showCatName val="0"/>
              <c:showSerName val="0"/>
              <c:showPercent val="0"/>
              <c:showBubbleSize val="0"/>
            </c:dLbl>
            <c:dLbl>
              <c:idx val="4"/>
              <c:tx>
                <c:rich>
                  <a:bodyPr/>
                  <a:lstStyle/>
                  <a:p>
                    <a:r>
                      <a:t>317.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Tanning Sunscreen Adults Cosmetics Aceite 15 - 19 240Ml</c:v>
                </c:pt>
                <c:pt idx="1">
                  <c:v>Others Fabricante Unif. Others Marca Unif. Sunscreen Adults Cosmetics Aceite 30 - 49 75Ml</c:v>
                </c:pt>
                <c:pt idx="2">
                  <c:v>Others Fabricante Unif. Others Marca Unif. Sunscreen Adults Cosmetics Aceite 30 - 49 150Ml</c:v>
                </c:pt>
                <c:pt idx="3">
                  <c:v>Others Fabricante Unif. Others Marca Unif. Sunscreen Adults Cosmetics Spray Aceite 30 200Ml</c:v>
                </c:pt>
                <c:pt idx="4">
                  <c:v>Others Fabricante Unif. Others Marca Unif. Sunscreen Kids Cosmetics Spray Aceite 50+ 177Ml</c:v>
                </c:pt>
              </c:strCache>
            </c:strRef>
          </c:cat>
          <c:val>
            <c:numRef>
              <c:f>Sheet1!$B$2:$B$6</c:f>
              <c:numCache>
                <c:formatCode>General</c:formatCode>
                <c:ptCount val="5"/>
                <c:pt idx="0">
                  <c:v>399.0</c:v>
                </c:pt>
                <c:pt idx="1">
                  <c:v>155.91</c:v>
                </c:pt>
                <c:pt idx="2">
                  <c:v>235.8</c:v>
                </c:pt>
                <c:pt idx="3">
                  <c:v>371.44</c:v>
                </c:pt>
                <c:pt idx="4">
                  <c:v>317.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189.32</a:t>
                    </a:r>
                  </a:p>
                </c:rich>
              </c:tx>
              <c:showLegendKey val="0"/>
              <c:showVal val="1"/>
              <c:showCatName val="0"/>
              <c:showSerName val="0"/>
              <c:showPercent val="0"/>
              <c:showBubbleSize val="0"/>
            </c:dLbl>
            <c:dLbl>
              <c:idx val="2"/>
              <c:tx>
                <c:rich>
                  <a:bodyPr/>
                  <a:lstStyle/>
                  <a:p>
                    <a:r>
                      <a:t>301.33</a:t>
                    </a:r>
                  </a:p>
                </c:rich>
              </c:tx>
              <c:showLegendKey val="0"/>
              <c:showVal val="1"/>
              <c:showCatName val="0"/>
              <c:showSerName val="0"/>
              <c:showPercent val="0"/>
              <c:showBubbleSize val="0"/>
            </c:dLbl>
            <c:dLbl>
              <c:idx val="3"/>
              <c:tx>
                <c:rich>
                  <a:bodyPr/>
                  <a:lstStyle/>
                  <a:p>
                    <a:r>
                      <a:t>209.16</a:t>
                    </a:r>
                  </a:p>
                </c:rich>
              </c:tx>
              <c:showLegendKey val="0"/>
              <c:showVal val="1"/>
              <c:showCatName val="0"/>
              <c:showSerName val="0"/>
              <c:showPercent val="0"/>
              <c:showBubbleSize val="0"/>
            </c:dLbl>
            <c:dLbl>
              <c:idx val="4"/>
              <c:tx>
                <c:rich>
                  <a:bodyPr/>
                  <a:lstStyle/>
                  <a:p>
                    <a:r>
                      <a:t>221.98</a:t>
                    </a:r>
                  </a:p>
                </c:rich>
              </c:tx>
              <c:showLegendKey val="0"/>
              <c:showVal val="1"/>
              <c:showCatName val="0"/>
              <c:showSerName val="0"/>
              <c:showPercent val="0"/>
              <c:showBubbleSize val="0"/>
            </c:dLbl>
            <c:dLbl>
              <c:idx val="5"/>
              <c:tx>
                <c:rich>
                  <a:bodyPr/>
                  <a:lstStyle/>
                  <a:p>
                    <a:r>
                      <a:t>223.98</a:t>
                    </a:r>
                  </a:p>
                </c:rich>
              </c:tx>
              <c:showLegendKey val="0"/>
              <c:showVal val="1"/>
              <c:showCatName val="0"/>
              <c:showSerName val="0"/>
              <c:showPercent val="0"/>
              <c:showBubbleSize val="0"/>
            </c:dLbl>
            <c:dLbl>
              <c:idx val="6"/>
              <c:tx>
                <c:rich>
                  <a:bodyPr/>
                  <a:lstStyle/>
                  <a:p>
                    <a:r>
                      <a:t>281.56</a:t>
                    </a:r>
                  </a:p>
                </c:rich>
              </c:tx>
              <c:showLegendKey val="0"/>
              <c:showVal val="1"/>
              <c:showCatName val="0"/>
              <c:showSerName val="0"/>
              <c:showPercent val="0"/>
              <c:showBubbleSize val="0"/>
            </c:dLbl>
            <c:dLbl>
              <c:idx val="7"/>
              <c:tx>
                <c:rich>
                  <a:bodyPr/>
                  <a:lstStyle/>
                  <a:p>
                    <a:r>
                      <a:t>316.47</a:t>
                    </a:r>
                  </a:p>
                </c:rich>
              </c:tx>
              <c:showLegendKey val="0"/>
              <c:showVal val="1"/>
              <c:showCatName val="0"/>
              <c:showSerName val="0"/>
              <c:showPercent val="0"/>
              <c:showBubbleSize val="0"/>
            </c:dLbl>
            <c:dLbl>
              <c:idx val="8"/>
              <c:tx>
                <c:rich>
                  <a:bodyPr/>
                  <a:lstStyle/>
                  <a:p>
                    <a:r>
                      <a:t>281.02</a:t>
                    </a:r>
                  </a:p>
                </c:rich>
              </c:tx>
              <c:showLegendKey val="0"/>
              <c:showVal val="1"/>
              <c:showCatName val="0"/>
              <c:showSerName val="0"/>
              <c:showPercent val="0"/>
              <c:showBubbleSize val="0"/>
            </c:dLbl>
            <c:dLbl>
              <c:idx val="9"/>
              <c:tx>
                <c:rich>
                  <a:bodyPr/>
                  <a:lstStyle/>
                  <a:p>
                    <a:r>
                      <a:t>262.13</a:t>
                    </a:r>
                  </a:p>
                </c:rich>
              </c:tx>
              <c:showLegendKey val="0"/>
              <c:showVal val="1"/>
              <c:showCatName val="0"/>
              <c:showSerName val="0"/>
              <c:showPercent val="0"/>
              <c:showBubbleSize val="0"/>
            </c:dLbl>
            <c:dLbl>
              <c:idx val="10"/>
              <c:tx>
                <c:rich>
                  <a:bodyPr/>
                  <a:lstStyle/>
                  <a:p>
                    <a:r>
                      <a:t>305.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Ozono Sunscreen Adults Cosmetics Crema 50+ 120Ml</c:v>
                </c:pt>
                <c:pt idx="4">
                  <c:v>Edgewell Hawaiian Tropic Other Sunscreen Adults Cosmetics Spray Crema 50 180Ml</c:v>
                </c:pt>
                <c:pt idx="5">
                  <c:v>L'Oreal Garnier Sunscreen Adults Cosmetics Crema 50+ 40Ml</c:v>
                </c:pt>
                <c:pt idx="6">
                  <c:v>Beiersdorf Nivea Sunscreen Adults Cosmetics Crema 50 50Ml</c:v>
                </c:pt>
                <c:pt idx="7">
                  <c:v>Beiersdorf Nivea Sunscreen Adults Cosmetics Crema 50+ 200Ml</c:v>
                </c:pt>
                <c:pt idx="8">
                  <c:v>Beiersdorf Nivea Sunscreen Adults Cosmetics Crema 50+ 40Ml</c:v>
                </c:pt>
                <c:pt idx="9">
                  <c:v>Beiersdorf Nivea Sunscreen Adults Cosmetics Crema 50+ 50Ml</c:v>
                </c:pt>
                <c:pt idx="10">
                  <c:v>Beiersdorf Nivea Sunscreen Adults Cosmetics Crema 30 - 49 200Ml</c:v>
                </c:pt>
              </c:strCache>
            </c:strRef>
          </c:cat>
          <c:val>
            <c:numRef>
              <c:f>Sheet1!$B$2:$B$12</c:f>
              <c:numCache>
                <c:formatCode>General</c:formatCode>
                <c:ptCount val="11"/>
                <c:pt idx="0">
                  <c:v>305.74</c:v>
                </c:pt>
                <c:pt idx="1">
                  <c:v>189.32</c:v>
                </c:pt>
                <c:pt idx="2">
                  <c:v>301.33</c:v>
                </c:pt>
                <c:pt idx="3">
                  <c:v>209.16</c:v>
                </c:pt>
                <c:pt idx="4">
                  <c:v>221.98</c:v>
                </c:pt>
                <c:pt idx="5">
                  <c:v>223.98</c:v>
                </c:pt>
                <c:pt idx="6">
                  <c:v>281.56</c:v>
                </c:pt>
                <c:pt idx="7">
                  <c:v>316.47</c:v>
                </c:pt>
                <c:pt idx="8">
                  <c:v>281.02</c:v>
                </c:pt>
                <c:pt idx="9">
                  <c:v>262.13</c:v>
                </c:pt>
                <c:pt idx="10">
                  <c:v>305.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0.72</a:t>
                    </a:r>
                  </a:p>
                </c:rich>
              </c:tx>
              <c:showLegendKey val="0"/>
              <c:showVal val="1"/>
              <c:showCatName val="0"/>
              <c:showSerName val="0"/>
              <c:showPercent val="0"/>
              <c:showBubbleSize val="0"/>
            </c:dLbl>
            <c:dLbl>
              <c:idx val="1"/>
              <c:tx>
                <c:rich>
                  <a:bodyPr/>
                  <a:lstStyle/>
                  <a:p>
                    <a:r>
                      <a:t>276.49</a:t>
                    </a:r>
                  </a:p>
                </c:rich>
              </c:tx>
              <c:showLegendKey val="0"/>
              <c:showVal val="1"/>
              <c:showCatName val="0"/>
              <c:showSerName val="0"/>
              <c:showPercent val="0"/>
              <c:showBubbleSize val="0"/>
            </c:dLbl>
            <c:dLbl>
              <c:idx val="2"/>
              <c:tx>
                <c:rich>
                  <a:bodyPr/>
                  <a:lstStyle/>
                  <a:p>
                    <a:r>
                      <a:t>271.49</a:t>
                    </a:r>
                  </a:p>
                </c:rich>
              </c:tx>
              <c:showLegendKey val="0"/>
              <c:showVal val="1"/>
              <c:showCatName val="0"/>
              <c:showSerName val="0"/>
              <c:showPercent val="0"/>
              <c:showBubbleSize val="0"/>
            </c:dLbl>
            <c:dLbl>
              <c:idx val="3"/>
              <c:tx>
                <c:rich>
                  <a:bodyPr/>
                  <a:lstStyle/>
                  <a:p>
                    <a:r>
                      <a:t>302.0</a:t>
                    </a:r>
                  </a:p>
                </c:rich>
              </c:tx>
              <c:showLegendKey val="0"/>
              <c:showVal val="1"/>
              <c:showCatName val="0"/>
              <c:showSerName val="0"/>
              <c:showPercent val="0"/>
              <c:showBubbleSize val="0"/>
            </c:dLbl>
            <c:dLbl>
              <c:idx val="4"/>
              <c:tx>
                <c:rich>
                  <a:bodyPr/>
                  <a:lstStyle/>
                  <a:p>
                    <a:r>
                      <a:t>278.96</a:t>
                    </a:r>
                  </a:p>
                </c:rich>
              </c:tx>
              <c:showLegendKey val="0"/>
              <c:showVal val="1"/>
              <c:showCatName val="0"/>
              <c:showSerName val="0"/>
              <c:showPercent val="0"/>
              <c:showBubbleSize val="0"/>
            </c:dLbl>
            <c:dLbl>
              <c:idx val="5"/>
              <c:tx>
                <c:rich>
                  <a:bodyPr/>
                  <a:lstStyle/>
                  <a:p>
                    <a:r>
                      <a:t>223.98</a:t>
                    </a:r>
                  </a:p>
                </c:rich>
              </c:tx>
              <c:showLegendKey val="0"/>
              <c:showVal val="1"/>
              <c:showCatName val="0"/>
              <c:showSerName val="0"/>
              <c:showPercent val="0"/>
              <c:showBubbleSize val="0"/>
            </c:dLbl>
            <c:dLbl>
              <c:idx val="6"/>
              <c:tx>
                <c:rich>
                  <a:bodyPr/>
                  <a:lstStyle/>
                  <a:p>
                    <a:r>
                      <a:t>281.56</a:t>
                    </a:r>
                  </a:p>
                </c:rich>
              </c:tx>
              <c:showLegendKey val="0"/>
              <c:showVal val="1"/>
              <c:showCatName val="0"/>
              <c:showSerName val="0"/>
              <c:showPercent val="0"/>
              <c:showBubbleSize val="0"/>
            </c:dLbl>
            <c:dLbl>
              <c:idx val="7"/>
              <c:tx>
                <c:rich>
                  <a:bodyPr/>
                  <a:lstStyle/>
                  <a:p>
                    <a:r>
                      <a:t>316.47</a:t>
                    </a:r>
                  </a:p>
                </c:rich>
              </c:tx>
              <c:showLegendKey val="0"/>
              <c:showVal val="1"/>
              <c:showCatName val="0"/>
              <c:showSerName val="0"/>
              <c:showPercent val="0"/>
              <c:showBubbleSize val="0"/>
            </c:dLbl>
            <c:dLbl>
              <c:idx val="8"/>
              <c:tx>
                <c:rich>
                  <a:bodyPr/>
                  <a:lstStyle/>
                  <a:p>
                    <a:r>
                      <a:t>281.02</a:t>
                    </a:r>
                  </a:p>
                </c:rich>
              </c:tx>
              <c:showLegendKey val="0"/>
              <c:showVal val="1"/>
              <c:showCatName val="0"/>
              <c:showSerName val="0"/>
              <c:showPercent val="0"/>
              <c:showBubbleSize val="0"/>
            </c:dLbl>
            <c:dLbl>
              <c:idx val="9"/>
              <c:tx>
                <c:rich>
                  <a:bodyPr/>
                  <a:lstStyle/>
                  <a:p>
                    <a:r>
                      <a:t>262.13</a:t>
                    </a:r>
                  </a:p>
                </c:rich>
              </c:tx>
              <c:showLegendKey val="0"/>
              <c:showVal val="1"/>
              <c:showCatName val="0"/>
              <c:showSerName val="0"/>
              <c:showPercent val="0"/>
              <c:showBubbleSize val="0"/>
            </c:dLbl>
            <c:dLbl>
              <c:idx val="10"/>
              <c:tx>
                <c:rich>
                  <a:bodyPr/>
                  <a:lstStyle/>
                  <a:p>
                    <a:r>
                      <a:t>305.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qua Protect Sunscreen Adults Cosmetics Crema 50+ 236Ml</c:v>
                </c:pt>
                <c:pt idx="1">
                  <c:v>Edgewell Banana Boat Kids Sport Sunscreen Kids Cosmetics Crema 50 180Ml</c:v>
                </c:pt>
                <c:pt idx="2">
                  <c:v>Edgewell Banana Boat Dry Balance Sunscreen Adults Cosmetics Spray Crema 50+ 220Ml</c:v>
                </c:pt>
                <c:pt idx="3">
                  <c:v>Edgewell Banana Boat Dry Balance Sunscreen Adults Cosmetics Crema 50+ 180Ml</c:v>
                </c:pt>
                <c:pt idx="4">
                  <c:v>Edgewell Banana Boat Bloqueador Sunscreen Adults Cosmetics Crema 50 236Ml</c:v>
                </c:pt>
                <c:pt idx="5">
                  <c:v>L'Oreal Garnier Sunscreen Adults Cosmetics Crema 50+ 40Ml</c:v>
                </c:pt>
                <c:pt idx="6">
                  <c:v>Beiersdorf Nivea Sunscreen Adults Cosmetics Crema 50 50Ml</c:v>
                </c:pt>
                <c:pt idx="7">
                  <c:v>Beiersdorf Nivea Sunscreen Adults Cosmetics Crema 50+ 200Ml</c:v>
                </c:pt>
                <c:pt idx="8">
                  <c:v>Beiersdorf Nivea Sunscreen Adults Cosmetics Crema 50+ 40Ml</c:v>
                </c:pt>
                <c:pt idx="9">
                  <c:v>Beiersdorf Nivea Sunscreen Adults Cosmetics Crema 50+ 50Ml</c:v>
                </c:pt>
                <c:pt idx="10">
                  <c:v>Beiersdorf Nivea Sunscreen Adults Cosmetics Crema 30 - 49 200Ml</c:v>
                </c:pt>
              </c:strCache>
            </c:strRef>
          </c:cat>
          <c:val>
            <c:numRef>
              <c:f>Sheet1!$B$2:$B$12</c:f>
              <c:numCache>
                <c:formatCode>General</c:formatCode>
                <c:ptCount val="11"/>
                <c:pt idx="0">
                  <c:v>290.72</c:v>
                </c:pt>
                <c:pt idx="1">
                  <c:v>276.49</c:v>
                </c:pt>
                <c:pt idx="2">
                  <c:v>271.49</c:v>
                </c:pt>
                <c:pt idx="3">
                  <c:v>302.0</c:v>
                </c:pt>
                <c:pt idx="4">
                  <c:v>278.96</c:v>
                </c:pt>
                <c:pt idx="5">
                  <c:v>223.98</c:v>
                </c:pt>
                <c:pt idx="6">
                  <c:v>281.56</c:v>
                </c:pt>
                <c:pt idx="7">
                  <c:v>316.47</c:v>
                </c:pt>
                <c:pt idx="8">
                  <c:v>281.02</c:v>
                </c:pt>
                <c:pt idx="9">
                  <c:v>262.13</c:v>
                </c:pt>
                <c:pt idx="10">
                  <c:v>305.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32</a:t>
                    </a:r>
                  </a:p>
                </c:rich>
              </c:tx>
              <c:showLegendKey val="0"/>
              <c:showVal val="1"/>
              <c:showCatName val="0"/>
              <c:showSerName val="0"/>
              <c:showPercent val="0"/>
              <c:showBubbleSize val="0"/>
            </c:dLbl>
            <c:dLbl>
              <c:idx val="1"/>
              <c:tx>
                <c:rich>
                  <a:bodyPr/>
                  <a:lstStyle/>
                  <a:p>
                    <a:r>
                      <a:t>314.71</a:t>
                    </a:r>
                  </a:p>
                </c:rich>
              </c:tx>
              <c:showLegendKey val="0"/>
              <c:showVal val="1"/>
              <c:showCatName val="0"/>
              <c:showSerName val="0"/>
              <c:showPercent val="0"/>
              <c:showBubbleSize val="0"/>
            </c:dLbl>
            <c:dLbl>
              <c:idx val="2"/>
              <c:tx>
                <c:rich>
                  <a:bodyPr/>
                  <a:lstStyle/>
                  <a:p>
                    <a:r>
                      <a:t>2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5.32</c:v>
                </c:pt>
                <c:pt idx="1">
                  <c:v>314.71</c:v>
                </c:pt>
                <c:pt idx="2">
                  <c:v>2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showLegendKey val="0"/>
              <c:showVal val="1"/>
              <c:showCatName val="0"/>
              <c:showSerName val="0"/>
              <c:showPercent val="0"/>
              <c:showBubbleSize val="0"/>
            </c:dLbl>
            <c:dLbl>
              <c:idx val="1"/>
              <c:tx>
                <c:rich>
                  <a:bodyPr/>
                  <a:lstStyle/>
                  <a:p>
                    <a:r>
                      <a:t>327.07</a:t>
                    </a:r>
                  </a:p>
                </c:rich>
              </c:tx>
              <c:showLegendKey val="0"/>
              <c:showVal val="1"/>
              <c:showCatName val="0"/>
              <c:showSerName val="0"/>
              <c:showPercent val="0"/>
              <c:showBubbleSize val="0"/>
            </c:dLbl>
            <c:dLbl>
              <c:idx val="2"/>
              <c:tx>
                <c:rich>
                  <a:bodyPr/>
                  <a:lstStyle/>
                  <a:p>
                    <a:r>
                      <a:t>102.57</a:t>
                    </a:r>
                  </a:p>
                </c:rich>
              </c:tx>
              <c:showLegendKey val="0"/>
              <c:showVal val="1"/>
              <c:showCatName val="0"/>
              <c:showSerName val="0"/>
              <c:showPercent val="0"/>
              <c:showBubbleSize val="0"/>
            </c:dLbl>
            <c:dLbl>
              <c:idx val="3"/>
              <c:tx>
                <c:rich>
                  <a:bodyPr/>
                  <a:lstStyle/>
                  <a:p>
                    <a:r>
                      <a:t>311.77</a:t>
                    </a:r>
                  </a:p>
                </c:rich>
              </c:tx>
              <c:showLegendKey val="0"/>
              <c:showVal val="1"/>
              <c:showCatName val="0"/>
              <c:showSerName val="0"/>
              <c:showPercent val="0"/>
              <c:showBubbleSize val="0"/>
            </c:dLbl>
            <c:dLbl>
              <c:idx val="4"/>
              <c:tx>
                <c:rich>
                  <a:bodyPr/>
                  <a:lstStyle/>
                  <a:p>
                    <a:r>
                      <a:t>296.15</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12.74</a:t>
                    </a:r>
                  </a:p>
                </c:rich>
              </c:tx>
              <c:showLegendKey val="0"/>
              <c:showVal val="1"/>
              <c:showCatName val="0"/>
              <c:showSerName val="0"/>
              <c:showPercent val="0"/>
              <c:showBubbleSize val="0"/>
            </c:dLbl>
            <c:dLbl>
              <c:idx val="8"/>
              <c:tx>
                <c:rich>
                  <a:bodyPr/>
                  <a:lstStyle/>
                  <a:p>
                    <a:r>
                      <a:t>186.08</a:t>
                    </a:r>
                  </a:p>
                </c:rich>
              </c:tx>
              <c:showLegendKey val="0"/>
              <c:showVal val="1"/>
              <c:showCatName val="0"/>
              <c:showSerName val="0"/>
              <c:showPercent val="0"/>
              <c:showBubbleSize val="0"/>
            </c:dLbl>
            <c:dLbl>
              <c:idx val="9"/>
              <c:tx>
                <c:rich>
                  <a:bodyPr/>
                  <a:lstStyle/>
                  <a:p>
                    <a:r>
                      <a:t>340.11</a:t>
                    </a:r>
                  </a:p>
                </c:rich>
              </c:tx>
              <c:showLegendKey val="0"/>
              <c:showVal val="1"/>
              <c:showCatName val="0"/>
              <c:showSerName val="0"/>
              <c:showPercent val="0"/>
              <c:showBubbleSize val="0"/>
            </c:dLbl>
            <c:dLbl>
              <c:idx val="10"/>
              <c:tx>
                <c:rich>
                  <a:bodyPr/>
                  <a:lstStyle/>
                  <a:p>
                    <a:r>
                      <a:t>298.8</a:t>
                    </a:r>
                  </a:p>
                </c:rich>
              </c:tx>
              <c:showLegendKey val="0"/>
              <c:showVal val="1"/>
              <c:showCatName val="0"/>
              <c:showSerName val="0"/>
              <c:showPercent val="0"/>
              <c:showBubbleSize val="0"/>
            </c:dLbl>
            <c:dLbl>
              <c:idx val="11"/>
              <c:tx>
                <c:rich>
                  <a:bodyPr/>
                  <a:lstStyle/>
                  <a:p>
                    <a:r>
                      <a:t>405.29</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9.05</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2.72</a:t>
                    </a:r>
                  </a:p>
                </c:rich>
              </c:tx>
              <c:showLegendKey val="0"/>
              <c:showVal val="1"/>
              <c:showCatName val="0"/>
              <c:showSerName val="0"/>
              <c:showPercent val="0"/>
              <c:showBubbleSize val="0"/>
            </c:dLbl>
            <c:dLbl>
              <c:idx val="16"/>
              <c:tx>
                <c:rich>
                  <a:bodyPr/>
                  <a:lstStyle/>
                  <a:p>
                    <a:r>
                      <a:t>168.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Tanning Sunscreen Adults Cosmetics Spray Liquido 15 - 19 22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Spray Liquido 50+ 200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306.84</c:v>
                </c:pt>
                <c:pt idx="1">
                  <c:v>327.07</c:v>
                </c:pt>
                <c:pt idx="2">
                  <c:v>102.57</c:v>
                </c:pt>
                <c:pt idx="3">
                  <c:v>311.77</c:v>
                </c:pt>
                <c:pt idx="4">
                  <c:v>296.15</c:v>
                </c:pt>
                <c:pt idx="5">
                  <c:v>287.0</c:v>
                </c:pt>
                <c:pt idx="6">
                  <c:v>287.0</c:v>
                </c:pt>
                <c:pt idx="7">
                  <c:v>312.74</c:v>
                </c:pt>
                <c:pt idx="8">
                  <c:v>186.08</c:v>
                </c:pt>
                <c:pt idx="9">
                  <c:v>340.11</c:v>
                </c:pt>
                <c:pt idx="10">
                  <c:v>298.8</c:v>
                </c:pt>
                <c:pt idx="11">
                  <c:v>405.29</c:v>
                </c:pt>
                <c:pt idx="12">
                  <c:v>1206.0</c:v>
                </c:pt>
                <c:pt idx="13">
                  <c:v>289.05</c:v>
                </c:pt>
                <c:pt idx="14">
                  <c:v>739.0</c:v>
                </c:pt>
                <c:pt idx="15">
                  <c:v>252.72</c:v>
                </c:pt>
                <c:pt idx="16">
                  <c:v>16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2</a:t>
                    </a:r>
                  </a:p>
                </c:rich>
              </c:tx>
              <c:showLegendKey val="0"/>
              <c:showVal val="1"/>
              <c:showCatName val="0"/>
              <c:showSerName val="0"/>
              <c:showPercent val="0"/>
              <c:showBubbleSize val="0"/>
            </c:dLbl>
            <c:dLbl>
              <c:idx val="1"/>
              <c:tx>
                <c:rich>
                  <a:bodyPr/>
                  <a:lstStyle/>
                  <a:p>
                    <a:r>
                      <a:t>317.39</a:t>
                    </a:r>
                  </a:p>
                </c:rich>
              </c:tx>
              <c:showLegendKey val="0"/>
              <c:showVal val="1"/>
              <c:showCatName val="0"/>
              <c:showSerName val="0"/>
              <c:showPercent val="0"/>
              <c:showBubbleSize val="0"/>
            </c:dLbl>
            <c:dLbl>
              <c:idx val="2"/>
              <c:tx>
                <c:rich>
                  <a:bodyPr/>
                  <a:lstStyle/>
                  <a:p>
                    <a:r>
                      <a:t>88.43</a:t>
                    </a:r>
                  </a:p>
                </c:rich>
              </c:tx>
              <c:showLegendKey val="0"/>
              <c:showVal val="1"/>
              <c:showCatName val="0"/>
              <c:showSerName val="0"/>
              <c:showPercent val="0"/>
              <c:showBubbleSize val="0"/>
            </c:dLbl>
            <c:dLbl>
              <c:idx val="3"/>
              <c:tx>
                <c:rich>
                  <a:bodyPr/>
                  <a:lstStyle/>
                  <a:p>
                    <a:r>
                      <a:t>254.68</a:t>
                    </a:r>
                  </a:p>
                </c:rich>
              </c:tx>
              <c:showLegendKey val="0"/>
              <c:showVal val="1"/>
              <c:showCatName val="0"/>
              <c:showSerName val="0"/>
              <c:showPercent val="0"/>
              <c:showBubbleSize val="0"/>
            </c:dLbl>
            <c:dLbl>
              <c:idx val="4"/>
              <c:tx>
                <c:rich>
                  <a:bodyPr/>
                  <a:lstStyle/>
                  <a:p>
                    <a:r>
                      <a:t>301.64</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12.74</a:t>
                    </a:r>
                  </a:p>
                </c:rich>
              </c:tx>
              <c:showLegendKey val="0"/>
              <c:showVal val="1"/>
              <c:showCatName val="0"/>
              <c:showSerName val="0"/>
              <c:showPercent val="0"/>
              <c:showBubbleSize val="0"/>
            </c:dLbl>
            <c:dLbl>
              <c:idx val="8"/>
              <c:tx>
                <c:rich>
                  <a:bodyPr/>
                  <a:lstStyle/>
                  <a:p>
                    <a:r>
                      <a:t>186.08</a:t>
                    </a:r>
                  </a:p>
                </c:rich>
              </c:tx>
              <c:showLegendKey val="0"/>
              <c:showVal val="1"/>
              <c:showCatName val="0"/>
              <c:showSerName val="0"/>
              <c:showPercent val="0"/>
              <c:showBubbleSize val="0"/>
            </c:dLbl>
            <c:dLbl>
              <c:idx val="9"/>
              <c:tx>
                <c:rich>
                  <a:bodyPr/>
                  <a:lstStyle/>
                  <a:p>
                    <a:r>
                      <a:t>340.11</a:t>
                    </a:r>
                  </a:p>
                </c:rich>
              </c:tx>
              <c:showLegendKey val="0"/>
              <c:showVal val="1"/>
              <c:showCatName val="0"/>
              <c:showSerName val="0"/>
              <c:showPercent val="0"/>
              <c:showBubbleSize val="0"/>
            </c:dLbl>
            <c:dLbl>
              <c:idx val="10"/>
              <c:tx>
                <c:rich>
                  <a:bodyPr/>
                  <a:lstStyle/>
                  <a:p>
                    <a:r>
                      <a:t>298.8</a:t>
                    </a:r>
                  </a:p>
                </c:rich>
              </c:tx>
              <c:showLegendKey val="0"/>
              <c:showVal val="1"/>
              <c:showCatName val="0"/>
              <c:showSerName val="0"/>
              <c:showPercent val="0"/>
              <c:showBubbleSize val="0"/>
            </c:dLbl>
            <c:dLbl>
              <c:idx val="11"/>
              <c:tx>
                <c:rich>
                  <a:bodyPr/>
                  <a:lstStyle/>
                  <a:p>
                    <a:r>
                      <a:t>405.29</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9.05</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2.72</a:t>
                    </a:r>
                  </a:p>
                </c:rich>
              </c:tx>
              <c:showLegendKey val="0"/>
              <c:showVal val="1"/>
              <c:showCatName val="0"/>
              <c:showSerName val="0"/>
              <c:showPercent val="0"/>
              <c:showBubbleSize val="0"/>
            </c:dLbl>
            <c:dLbl>
              <c:idx val="16"/>
              <c:tx>
                <c:rich>
                  <a:bodyPr/>
                  <a:lstStyle/>
                  <a:p>
                    <a:r>
                      <a:t>168.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Advanced Protection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180Ml</c:v>
                </c:pt>
                <c:pt idx="4">
                  <c:v>Edgewell Banana Boat Gentle Protect Sunscreen Kids Cosmetics Spray Liquido 50+ 17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Spray Liquido 50+ 200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310.2</c:v>
                </c:pt>
                <c:pt idx="1">
                  <c:v>317.39</c:v>
                </c:pt>
                <c:pt idx="2">
                  <c:v>88.43</c:v>
                </c:pt>
                <c:pt idx="3">
                  <c:v>254.68</c:v>
                </c:pt>
                <c:pt idx="4">
                  <c:v>301.64</c:v>
                </c:pt>
                <c:pt idx="5">
                  <c:v>287.0</c:v>
                </c:pt>
                <c:pt idx="6">
                  <c:v>287.0</c:v>
                </c:pt>
                <c:pt idx="7">
                  <c:v>312.74</c:v>
                </c:pt>
                <c:pt idx="8">
                  <c:v>186.08</c:v>
                </c:pt>
                <c:pt idx="9">
                  <c:v>340.11</c:v>
                </c:pt>
                <c:pt idx="10">
                  <c:v>298.8</c:v>
                </c:pt>
                <c:pt idx="11">
                  <c:v>405.29</c:v>
                </c:pt>
                <c:pt idx="12">
                  <c:v>1206.0</c:v>
                </c:pt>
                <c:pt idx="13">
                  <c:v>289.05</c:v>
                </c:pt>
                <c:pt idx="14">
                  <c:v>739.0</c:v>
                </c:pt>
                <c:pt idx="15">
                  <c:v>252.72</c:v>
                </c:pt>
                <c:pt idx="16">
                  <c:v>16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5</a:t>
                    </a:r>
                  </a:p>
                </c:rich>
              </c:tx>
              <c:dLblPos val="t"/>
              <c:showLegendKey val="0"/>
              <c:showVal val="1"/>
              <c:showCatName val="0"/>
              <c:showSerName val="0"/>
              <c:showPercent val="0"/>
              <c:showBubbleSize val="0"/>
            </c:dLbl>
            <c:dLbl>
              <c:idx val="1"/>
              <c:tx>
                <c:rich>
                  <a:bodyPr/>
                  <a:lstStyle/>
                  <a:p>
                    <a:r>
                      <a:t>294.74</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104.26</a:t>
                    </a:r>
                  </a:p>
                </c:rich>
              </c:tx>
              <c:dLblPos val="t"/>
              <c:showLegendKey val="0"/>
              <c:showVal val="1"/>
              <c:showCatName val="0"/>
              <c:showSerName val="0"/>
              <c:showPercent val="0"/>
              <c:showBubbleSize val="0"/>
            </c:dLbl>
            <c:dLbl>
              <c:idx val="4"/>
              <c:tx>
                <c:rich>
                  <a:bodyPr/>
                  <a:lstStyle/>
                  <a:p>
                    <a:r>
                      <a:t>185.41</a:t>
                    </a:r>
                  </a:p>
                </c:rich>
              </c:tx>
              <c:dLblPos val="t"/>
              <c:showLegendKey val="0"/>
              <c:showVal val="1"/>
              <c:showCatName val="0"/>
              <c:showSerName val="0"/>
              <c:showPercent val="0"/>
              <c:showBubbleSize val="0"/>
            </c:dLbl>
            <c:dLbl>
              <c:idx val="5"/>
              <c:tx>
                <c:rich>
                  <a:bodyPr/>
                  <a:lstStyle/>
                  <a:p>
                    <a:r>
                      <a:t>309.91</a:t>
                    </a:r>
                  </a:p>
                </c:rich>
              </c:tx>
              <c:dLblPos val="t"/>
              <c:showLegendKey val="0"/>
              <c:showVal val="1"/>
              <c:showCatName val="0"/>
              <c:showSerName val="0"/>
              <c:showPercent val="0"/>
              <c:showBubbleSize val="0"/>
            </c:dLbl>
            <c:dLbl>
              <c:idx val="6"/>
              <c:tx>
                <c:rich>
                  <a:bodyPr/>
                  <a:lstStyle/>
                  <a:p>
                    <a:r>
                      <a:t>281.66</a:t>
                    </a:r>
                  </a:p>
                </c:rich>
              </c:tx>
              <c:dLblPos val="t"/>
              <c:showLegendKey val="0"/>
              <c:showVal val="1"/>
              <c:showCatName val="0"/>
              <c:showSerName val="0"/>
              <c:showPercent val="0"/>
              <c:showBubbleSize val="0"/>
            </c:dLbl>
            <c:dLbl>
              <c:idx val="7"/>
              <c:tx>
                <c:rich>
                  <a:bodyPr/>
                  <a:lstStyle/>
                  <a:p>
                    <a:r>
                      <a:t>293.24</a:t>
                    </a:r>
                  </a:p>
                </c:rich>
              </c:tx>
              <c:dLblPos val="t"/>
              <c:showLegendKey val="0"/>
              <c:showVal val="1"/>
              <c:showCatName val="0"/>
              <c:showSerName val="0"/>
              <c:showPercent val="0"/>
              <c:showBubbleSize val="0"/>
            </c:dLbl>
            <c:dLbl>
              <c:idx val="8"/>
              <c:tx>
                <c:rich>
                  <a:bodyPr/>
                  <a:lstStyle/>
                  <a:p>
                    <a:r>
                      <a:t>314.89</a:t>
                    </a:r>
                  </a:p>
                </c:rich>
              </c:tx>
              <c:dLblPos val="t"/>
              <c:showLegendKey val="0"/>
              <c:showVal val="1"/>
              <c:showCatName val="0"/>
              <c:showSerName val="0"/>
              <c:showPercent val="0"/>
              <c:showBubbleSize val="0"/>
            </c:dLbl>
            <c:dLbl>
              <c:idx val="9"/>
              <c:tx>
                <c:rich>
                  <a:bodyPr/>
                  <a:lstStyle/>
                  <a:p>
                    <a:r>
                      <a:t>94.65</a:t>
                    </a:r>
                  </a:p>
                </c:rich>
              </c:tx>
              <c:dLblPos val="t"/>
              <c:showLegendKey val="0"/>
              <c:showVal val="1"/>
              <c:showCatName val="0"/>
              <c:showSerName val="0"/>
              <c:showPercent val="0"/>
              <c:showBubbleSize val="0"/>
            </c:dLbl>
            <c:dLbl>
              <c:idx val="10"/>
              <c:tx>
                <c:rich>
                  <a:bodyPr/>
                  <a:lstStyle/>
                  <a:p>
                    <a:r>
                      <a:t>190.66</a:t>
                    </a:r>
                  </a:p>
                </c:rich>
              </c:tx>
              <c:dLblPos val="t"/>
              <c:showLegendKey val="0"/>
              <c:showVal val="1"/>
              <c:showCatName val="0"/>
              <c:showSerName val="0"/>
              <c:showPercent val="0"/>
              <c:showBubbleSize val="0"/>
            </c:dLbl>
            <c:dLbl>
              <c:idx val="11"/>
              <c:tx>
                <c:rich>
                  <a:bodyPr/>
                  <a:lstStyle/>
                  <a:p>
                    <a:r>
                      <a:t>317.75</a:t>
                    </a:r>
                  </a:p>
                </c:rich>
              </c:tx>
              <c:dLblPos val="t"/>
              <c:showLegendKey val="0"/>
              <c:showVal val="1"/>
              <c:showCatName val="0"/>
              <c:showSerName val="0"/>
              <c:showPercent val="0"/>
              <c:showBubbleSize val="0"/>
            </c:dLbl>
            <c:dLbl>
              <c:idx val="12"/>
              <c:tx>
                <c:rich>
                  <a:bodyPr/>
                  <a:lstStyle/>
                  <a:p>
                    <a:r>
                      <a:t>300.09</a:t>
                    </a:r>
                  </a:p>
                </c:rich>
              </c:tx>
              <c:dLblPos val="t"/>
              <c:showLegendKey val="0"/>
              <c:showVal val="1"/>
              <c:showCatName val="0"/>
              <c:showSerName val="0"/>
              <c:showPercent val="0"/>
              <c:showBubbleSize val="0"/>
            </c:dLbl>
            <c:dLbl>
              <c:idx val="13"/>
              <c:tx>
                <c:rich>
                  <a:bodyPr/>
                  <a:lstStyle/>
                  <a:p>
                    <a:r>
                      <a:t>290.05</a:t>
                    </a:r>
                  </a:p>
                </c:rich>
              </c:tx>
              <c:dLblPos val="t"/>
              <c:showLegendKey val="0"/>
              <c:showVal val="1"/>
              <c:showCatName val="0"/>
              <c:showSerName val="0"/>
              <c:showPercent val="0"/>
              <c:showBubbleSize val="0"/>
            </c:dLbl>
            <c:dLbl>
              <c:idx val="14"/>
              <c:tx>
                <c:rich>
                  <a:bodyPr/>
                  <a:lstStyle/>
                  <a:p>
                    <a:r>
                      <a:t>172.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Ozono Sunscreen Adults Cosmetics Spray Liquido 50+ 180Ml</c:v>
                </c:pt>
                <c:pt idx="6">
                  <c:v>Edgewell Hawaiian Tropic Sheer Touch Sunscreen Adults Cosmetics Crema 30 - 49 240Ml</c:v>
                </c:pt>
                <c:pt idx="7">
                  <c:v>Edgewell Hawaiian Tropic Silk Hydration Sunscreen Adults Cosmetics Liquido 50 180Ml</c:v>
                </c:pt>
                <c:pt idx="8">
                  <c:v>Edgewell Hawaiian Tropic Island Sport Sunscreen Adults Sport Spray Liquido 50 220Ml</c:v>
                </c:pt>
                <c:pt idx="9">
                  <c:v>Edgewell Hawaiian Tropic Island Sport Sunscreen Adults Sport Liquido 50 60Ml</c:v>
                </c:pt>
                <c:pt idx="10">
                  <c:v>Edgewell Hawaiian Tropic Ozono Sunscreen Adults Cosmetics Liquido 50+ 1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5.75</c:v>
                </c:pt>
                <c:pt idx="1">
                  <c:v>294.74</c:v>
                </c:pt>
                <c:pt idx="2">
                  <c:v>285.74</c:v>
                </c:pt>
                <c:pt idx="3">
                  <c:v>104.26</c:v>
                </c:pt>
                <c:pt idx="4">
                  <c:v>185.41</c:v>
                </c:pt>
                <c:pt idx="5">
                  <c:v>309.91</c:v>
                </c:pt>
                <c:pt idx="6">
                  <c:v>281.66</c:v>
                </c:pt>
                <c:pt idx="7">
                  <c:v>293.24</c:v>
                </c:pt>
                <c:pt idx="8">
                  <c:v>314.89</c:v>
                </c:pt>
                <c:pt idx="9">
                  <c:v>94.65</c:v>
                </c:pt>
                <c:pt idx="10">
                  <c:v>190.66</c:v>
                </c:pt>
                <c:pt idx="11">
                  <c:v>317.75</c:v>
                </c:pt>
                <c:pt idx="12">
                  <c:v>300.09</c:v>
                </c:pt>
                <c:pt idx="13">
                  <c:v>290.05</c:v>
                </c:pt>
                <c:pt idx="14">
                  <c:v>172.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12.74</a:t>
                    </a:r>
                  </a:p>
                </c:rich>
              </c:tx>
              <c:showLegendKey val="0"/>
              <c:showVal val="1"/>
              <c:showCatName val="0"/>
              <c:showSerName val="0"/>
              <c:showPercent val="0"/>
              <c:showBubbleSize val="0"/>
            </c:dLbl>
            <c:dLbl>
              <c:idx val="8"/>
              <c:tx>
                <c:rich>
                  <a:bodyPr/>
                  <a:lstStyle/>
                  <a:p>
                    <a:r>
                      <a:t>186.08</a:t>
                    </a:r>
                  </a:p>
                </c:rich>
              </c:tx>
              <c:showLegendKey val="0"/>
              <c:showVal val="1"/>
              <c:showCatName val="0"/>
              <c:showSerName val="0"/>
              <c:showPercent val="0"/>
              <c:showBubbleSize val="0"/>
            </c:dLbl>
            <c:dLbl>
              <c:idx val="9"/>
              <c:tx>
                <c:rich>
                  <a:bodyPr/>
                  <a:lstStyle/>
                  <a:p>
                    <a:r>
                      <a:t>340.11</a:t>
                    </a:r>
                  </a:p>
                </c:rich>
              </c:tx>
              <c:showLegendKey val="0"/>
              <c:showVal val="1"/>
              <c:showCatName val="0"/>
              <c:showSerName val="0"/>
              <c:showPercent val="0"/>
              <c:showBubbleSize val="0"/>
            </c:dLbl>
            <c:dLbl>
              <c:idx val="10"/>
              <c:tx>
                <c:rich>
                  <a:bodyPr/>
                  <a:lstStyle/>
                  <a:p>
                    <a:r>
                      <a:t>298.8</a:t>
                    </a:r>
                  </a:p>
                </c:rich>
              </c:tx>
              <c:showLegendKey val="0"/>
              <c:showVal val="1"/>
              <c:showCatName val="0"/>
              <c:showSerName val="0"/>
              <c:showPercent val="0"/>
              <c:showBubbleSize val="0"/>
            </c:dLbl>
            <c:dLbl>
              <c:idx val="11"/>
              <c:tx>
                <c:rich>
                  <a:bodyPr/>
                  <a:lstStyle/>
                  <a:p>
                    <a:r>
                      <a:t>405.29</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289.05</a:t>
                    </a:r>
                  </a:p>
                </c:rich>
              </c:tx>
              <c:showLegendKey val="0"/>
              <c:showVal val="1"/>
              <c:showCatName val="0"/>
              <c:showSerName val="0"/>
              <c:showPercent val="0"/>
              <c:showBubbleSize val="0"/>
            </c:dLbl>
            <c:dLbl>
              <c:idx val="14"/>
              <c:tx>
                <c:rich>
                  <a:bodyPr/>
                  <a:lstStyle/>
                  <a:p>
                    <a:r>
                      <a:t>739.0</a:t>
                    </a:r>
                  </a:p>
                </c:rich>
              </c:tx>
              <c:showLegendKey val="0"/>
              <c:showVal val="1"/>
              <c:showCatName val="0"/>
              <c:showSerName val="0"/>
              <c:showPercent val="0"/>
              <c:showBubbleSize val="0"/>
            </c:dLbl>
            <c:dLbl>
              <c:idx val="15"/>
              <c:tx>
                <c:rich>
                  <a:bodyPr/>
                  <a:lstStyle/>
                  <a:p>
                    <a:r>
                      <a:t>252.72</a:t>
                    </a:r>
                  </a:p>
                </c:rich>
              </c:tx>
              <c:showLegendKey val="0"/>
              <c:showVal val="1"/>
              <c:showCatName val="0"/>
              <c:showSerName val="0"/>
              <c:showPercent val="0"/>
              <c:showBubbleSize val="0"/>
            </c:dLbl>
            <c:dLbl>
              <c:idx val="16"/>
              <c:tx>
                <c:rich>
                  <a:bodyPr/>
                  <a:lstStyle/>
                  <a:p>
                    <a:r>
                      <a:t>168.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Kids Cosmetics Spray Liquido 50+ 200Ml</c:v>
                </c:pt>
                <c:pt idx="12">
                  <c:v>Others Fabricante Unif. Others Marca Unif. Sunscreen Adults Cosmetics Liquido 30 - 49 50Ml</c:v>
                </c:pt>
                <c:pt idx="13">
                  <c:v>Others Fabricante Unif. Others Marca Unif. Sunscreen Adults Cosmetics Spray Liquido 50 200Ml</c:v>
                </c:pt>
                <c:pt idx="14">
                  <c:v>Others Fabricante Unif. Others Marca Unif. Sunscreen Adults Cosmetics Spray Liquido 50+ 200Ml</c:v>
                </c:pt>
                <c:pt idx="15">
                  <c:v>Others Fabricante Unif. Others Marca Unif. Sunscreen Adults Cosmetics Liquido 30 50Ml</c:v>
                </c:pt>
                <c:pt idx="16">
                  <c:v>Others Fabricante Unif. Others Marca Unif. Sunscreen Kids Cosmetics Liquido 50 100Ml</c:v>
                </c:pt>
              </c:strCache>
            </c:strRef>
          </c:cat>
          <c:val>
            <c:numRef>
              <c:f>Sheet1!$B$2:$B$18</c:f>
              <c:numCache>
                <c:formatCode>General</c:formatCode>
                <c:ptCount val="17"/>
                <c:pt idx="0">
                  <c:v>269.3</c:v>
                </c:pt>
                <c:pt idx="1">
                  <c:v>282.37</c:v>
                </c:pt>
                <c:pt idx="2">
                  <c:v>258.13</c:v>
                </c:pt>
                <c:pt idx="3">
                  <c:v>242.37</c:v>
                </c:pt>
                <c:pt idx="4">
                  <c:v>400.18</c:v>
                </c:pt>
                <c:pt idx="5">
                  <c:v>287.0</c:v>
                </c:pt>
                <c:pt idx="6">
                  <c:v>287.0</c:v>
                </c:pt>
                <c:pt idx="7">
                  <c:v>312.74</c:v>
                </c:pt>
                <c:pt idx="8">
                  <c:v>186.08</c:v>
                </c:pt>
                <c:pt idx="9">
                  <c:v>340.11</c:v>
                </c:pt>
                <c:pt idx="10">
                  <c:v>298.8</c:v>
                </c:pt>
                <c:pt idx="11">
                  <c:v>405.29</c:v>
                </c:pt>
                <c:pt idx="12">
                  <c:v>1206.0</c:v>
                </c:pt>
                <c:pt idx="13">
                  <c:v>289.05</c:v>
                </c:pt>
                <c:pt idx="14">
                  <c:v>739.0</c:v>
                </c:pt>
                <c:pt idx="15">
                  <c:v>252.72</c:v>
                </c:pt>
                <c:pt idx="16">
                  <c:v>16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13</a:t>
                    </a:r>
                  </a:p>
                </c:rich>
              </c:tx>
              <c:showLegendKey val="0"/>
              <c:showVal val="1"/>
              <c:showCatName val="0"/>
              <c:showSerName val="0"/>
              <c:showPercent val="0"/>
              <c:showBubbleSize val="0"/>
            </c:dLbl>
            <c:dLbl>
              <c:idx val="1"/>
              <c:tx>
                <c:rich>
                  <a:bodyPr/>
                  <a:lstStyle/>
                  <a:p>
                    <a:r>
                      <a:t>355.95</a:t>
                    </a:r>
                  </a:p>
                </c:rich>
              </c:tx>
              <c:showLegendKey val="0"/>
              <c:showVal val="1"/>
              <c:showCatName val="0"/>
              <c:showSerName val="0"/>
              <c:showPercent val="0"/>
              <c:showBubbleSize val="0"/>
            </c:dLbl>
            <c:dLbl>
              <c:idx val="2"/>
              <c:tx>
                <c:rich>
                  <a:bodyPr/>
                  <a:lstStyle/>
                  <a:p>
                    <a:r>
                      <a:t>336.9</a:t>
                    </a:r>
                  </a:p>
                </c:rich>
              </c:tx>
              <c:showLegendKey val="0"/>
              <c:showVal val="1"/>
              <c:showCatName val="0"/>
              <c:showSerName val="0"/>
              <c:showPercent val="0"/>
              <c:showBubbleSize val="0"/>
            </c:dLbl>
            <c:dLbl>
              <c:idx val="3"/>
              <c:tx>
                <c:rich>
                  <a:bodyPr/>
                  <a:lstStyle/>
                  <a:p>
                    <a:r>
                      <a:t>330.14</a:t>
                    </a:r>
                  </a:p>
                </c:rich>
              </c:tx>
              <c:showLegendKey val="0"/>
              <c:showVal val="1"/>
              <c:showCatName val="0"/>
              <c:showSerName val="0"/>
              <c:showPercent val="0"/>
              <c:showBubbleSize val="0"/>
            </c:dLbl>
            <c:dLbl>
              <c:idx val="4"/>
              <c:tx>
                <c:rich>
                  <a:bodyPr/>
                  <a:lstStyle/>
                  <a:p>
                    <a:r>
                      <a:t>289.14</a:t>
                    </a:r>
                  </a:p>
                </c:rich>
              </c:tx>
              <c:showLegendKey val="0"/>
              <c:showVal val="1"/>
              <c:showCatName val="0"/>
              <c:showSerName val="0"/>
              <c:showPercent val="0"/>
              <c:showBubbleSize val="0"/>
            </c:dLbl>
            <c:dLbl>
              <c:idx val="5"/>
              <c:tx>
                <c:rich>
                  <a:bodyPr/>
                  <a:lstStyle/>
                  <a:p>
                    <a:r>
                      <a:t>417.81</a:t>
                    </a:r>
                  </a:p>
                </c:rich>
              </c:tx>
              <c:showLegendKey val="0"/>
              <c:showVal val="1"/>
              <c:showCatName val="0"/>
              <c:showSerName val="0"/>
              <c:showPercent val="0"/>
              <c:showBubbleSize val="0"/>
            </c:dLbl>
            <c:dLbl>
              <c:idx val="6"/>
              <c:tx>
                <c:rich>
                  <a:bodyPr/>
                  <a:lstStyle/>
                  <a:p>
                    <a:r>
                      <a:t>457.6</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204.11</a:t>
                    </a:r>
                  </a:p>
                </c:rich>
              </c:tx>
              <c:showLegendKey val="0"/>
              <c:showVal val="1"/>
              <c:showCatName val="0"/>
              <c:showSerName val="0"/>
              <c:showPercent val="0"/>
              <c:showBubbleSize val="0"/>
            </c:dLbl>
            <c:dLbl>
              <c:idx val="9"/>
              <c:tx>
                <c:rich>
                  <a:bodyPr/>
                  <a:lstStyle/>
                  <a:p>
                    <a:r>
                      <a:t>367.0</a:t>
                    </a:r>
                  </a:p>
                </c:rich>
              </c:tx>
              <c:showLegendKey val="0"/>
              <c:showVal val="1"/>
              <c:showCatName val="0"/>
              <c:showSerName val="0"/>
              <c:showPercent val="0"/>
              <c:showBubbleSize val="0"/>
            </c:dLbl>
            <c:dLbl>
              <c:idx val="10"/>
              <c:tx>
                <c:rich>
                  <a:bodyPr/>
                  <a:lstStyle/>
                  <a:p>
                    <a:r>
                      <a:t>241.54</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dLbl>
              <c:idx val="12"/>
              <c:tx>
                <c:rich>
                  <a:bodyPr/>
                  <a:lstStyle/>
                  <a:p>
                    <a:r>
                      <a:t>270.0</a:t>
                    </a:r>
                  </a:p>
                </c:rich>
              </c:tx>
              <c:showLegendKey val="0"/>
              <c:showVal val="1"/>
              <c:showCatName val="0"/>
              <c:showSerName val="0"/>
              <c:showPercent val="0"/>
              <c:showBubbleSize val="0"/>
            </c:dLbl>
            <c:dLbl>
              <c:idx val="13"/>
              <c:tx>
                <c:rich>
                  <a:bodyPr/>
                  <a:lstStyle/>
                  <a:p>
                    <a:r>
                      <a:t>195.0</a:t>
                    </a:r>
                  </a:p>
                </c:rich>
              </c:tx>
              <c:showLegendKey val="0"/>
              <c:showVal val="1"/>
              <c:showCatName val="0"/>
              <c:showSerName val="0"/>
              <c:showPercent val="0"/>
              <c:showBubbleSize val="0"/>
            </c:dLbl>
            <c:dLbl>
              <c:idx val="14"/>
              <c:tx>
                <c:rich>
                  <a:bodyPr/>
                  <a:lstStyle/>
                  <a:p>
                    <a:r>
                      <a:t>250.0</a:t>
                    </a:r>
                  </a:p>
                </c:rich>
              </c:tx>
              <c:showLegendKey val="0"/>
              <c:showVal val="1"/>
              <c:showCatName val="0"/>
              <c:showSerName val="0"/>
              <c:showPercent val="0"/>
              <c:showBubbleSize val="0"/>
            </c:dLbl>
            <c:dLbl>
              <c:idx val="15"/>
              <c:tx>
                <c:rich>
                  <a:bodyPr/>
                  <a:lstStyle/>
                  <a:p>
                    <a:r>
                      <a:t>150.0</a:t>
                    </a:r>
                  </a:p>
                </c:rich>
              </c:tx>
              <c:showLegendKey val="0"/>
              <c:showVal val="1"/>
              <c:showCatName val="0"/>
              <c:showSerName val="0"/>
              <c:showPercent val="0"/>
              <c:showBubbleSize val="0"/>
            </c:dLbl>
            <c:dLbl>
              <c:idx val="16"/>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Mineral Sunscreen Adults Cosmetics Locion 50 180Ml</c:v>
                </c:pt>
                <c:pt idx="4">
                  <c:v>Edgewell Banana Boat Mineral Sunscreen Adults Cosmetics Locion 50 60Ml</c:v>
                </c:pt>
                <c:pt idx="5">
                  <c:v>Labs. Expanscience Mustela Sunscreen Kids Cosmetics Locion 50+ 40Ml</c:v>
                </c:pt>
                <c:pt idx="6">
                  <c:v>Labs. Expanscience Mustela Sunscreen Baby Cosmetics Locion 50+ 100Ml</c:v>
                </c:pt>
                <c:pt idx="7">
                  <c:v>Others Fabricante Unif. Others Marca Unif. Sunscreen Adults Cosmetics Locion 50+ 35Ml</c:v>
                </c:pt>
                <c:pt idx="8">
                  <c:v>Others Fabricante Unif. Others Marca Unif. Sunscreen Adults Cosmetics Locion 50 100Ml</c:v>
                </c:pt>
                <c:pt idx="9">
                  <c:v>Others Fabricante Unif. Others Marca Unif. Sunscreen Kids Cosmetics Locion 50+ 177Ml</c:v>
                </c:pt>
                <c:pt idx="10">
                  <c:v>Others Fabricante Unif. Others Marca Unif. Sunscreen Baby Cosmetics Locion 50+ 100Ml</c:v>
                </c:pt>
                <c:pt idx="11">
                  <c:v>Others Fabricante Unif. Others Marca Unif. Sunscreen Kids Cosmetics Spray Locion 30 - 49 200Ml</c:v>
                </c:pt>
                <c:pt idx="12">
                  <c:v>Sun &amp; Skin Care Research No-Ad Sunscreen Adults Cosmetics Locion 50+ 250Ml</c:v>
                </c:pt>
                <c:pt idx="13">
                  <c:v>Sun &amp; Skin Care Research No-Ad Sunscreen Adults Cosmetics Locion 50+ 89Ml</c:v>
                </c:pt>
                <c:pt idx="14">
                  <c:v>Sun &amp; Skin Care Research No-Ad Sunscreen Adults Cosmetics Locion 60 250Ml</c:v>
                </c:pt>
                <c:pt idx="15">
                  <c:v>Sun &amp; Skin Care Research No-Ad Sunscreen Adults Cosmetics Locion 50 89Ml</c:v>
                </c:pt>
                <c:pt idx="16">
                  <c:v>Sun &amp; Skin Care Research No-Ad Sunscreen Adults Cosmetics Locion 30 - 49 89Ml</c:v>
                </c:pt>
              </c:strCache>
            </c:strRef>
          </c:cat>
          <c:val>
            <c:numRef>
              <c:f>Sheet1!$B$2:$B$18</c:f>
              <c:numCache>
                <c:formatCode>General</c:formatCode>
                <c:ptCount val="17"/>
                <c:pt idx="0">
                  <c:v>269.13</c:v>
                </c:pt>
                <c:pt idx="1">
                  <c:v>355.95</c:v>
                </c:pt>
                <c:pt idx="2">
                  <c:v>336.9</c:v>
                </c:pt>
                <c:pt idx="3">
                  <c:v>330.14</c:v>
                </c:pt>
                <c:pt idx="4">
                  <c:v>289.14</c:v>
                </c:pt>
                <c:pt idx="5">
                  <c:v>417.81</c:v>
                </c:pt>
                <c:pt idx="6">
                  <c:v>457.6</c:v>
                </c:pt>
                <c:pt idx="7">
                  <c:v>49.4</c:v>
                </c:pt>
                <c:pt idx="8">
                  <c:v>204.11</c:v>
                </c:pt>
                <c:pt idx="9">
                  <c:v>367.0</c:v>
                </c:pt>
                <c:pt idx="10">
                  <c:v>241.54</c:v>
                </c:pt>
                <c:pt idx="11">
                  <c:v>354.77</c:v>
                </c:pt>
                <c:pt idx="12">
                  <c:v>270.0</c:v>
                </c:pt>
                <c:pt idx="13">
                  <c:v>195.0</c:v>
                </c:pt>
                <c:pt idx="14">
                  <c:v>250.0</c:v>
                </c:pt>
                <c:pt idx="15">
                  <c:v>150.0</c:v>
                </c:pt>
                <c:pt idx="16">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6.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22</a:t>
                    </a:r>
                  </a:p>
                </c:rich>
              </c:tx>
              <c:showLegendKey val="0"/>
              <c:showVal val="1"/>
              <c:showCatName val="0"/>
              <c:showSerName val="0"/>
              <c:showPercent val="0"/>
              <c:showBubbleSize val="0"/>
            </c:dLbl>
            <c:dLbl>
              <c:idx val="1"/>
              <c:tx>
                <c:rich>
                  <a:bodyPr/>
                  <a:lstStyle/>
                  <a:p>
                    <a:r>
                      <a:t>244.93</a:t>
                    </a:r>
                  </a:p>
                </c:rich>
              </c:tx>
              <c:showLegendKey val="0"/>
              <c:showVal val="1"/>
              <c:showCatName val="0"/>
              <c:showSerName val="0"/>
              <c:showPercent val="0"/>
              <c:showBubbleSize val="0"/>
            </c:dLbl>
            <c:dLbl>
              <c:idx val="2"/>
              <c:tx>
                <c:rich>
                  <a:bodyPr/>
                  <a:lstStyle/>
                  <a:p>
                    <a:r>
                      <a:t>380.56</a:t>
                    </a:r>
                  </a:p>
                </c:rich>
              </c:tx>
              <c:showLegendKey val="0"/>
              <c:showVal val="1"/>
              <c:showCatName val="0"/>
              <c:showSerName val="0"/>
              <c:showPercent val="0"/>
              <c:showBubbleSize val="0"/>
            </c:dLbl>
            <c:dLbl>
              <c:idx val="3"/>
              <c:tx>
                <c:rich>
                  <a:bodyPr/>
                  <a:lstStyle/>
                  <a:p>
                    <a:r>
                      <a:t>292.03</a:t>
                    </a:r>
                  </a:p>
                </c:rich>
              </c:tx>
              <c:showLegendKey val="0"/>
              <c:showVal val="1"/>
              <c:showCatName val="0"/>
              <c:showSerName val="0"/>
              <c:showPercent val="0"/>
              <c:showBubbleSize val="0"/>
            </c:dLbl>
            <c:dLbl>
              <c:idx val="4"/>
              <c:tx>
                <c:rich>
                  <a:bodyPr/>
                  <a:lstStyle/>
                  <a:p>
                    <a:r>
                      <a:t>350.53</a:t>
                    </a:r>
                  </a:p>
                </c:rich>
              </c:tx>
              <c:showLegendKey val="0"/>
              <c:showVal val="1"/>
              <c:showCatName val="0"/>
              <c:showSerName val="0"/>
              <c:showPercent val="0"/>
              <c:showBubbleSize val="0"/>
            </c:dLbl>
            <c:dLbl>
              <c:idx val="5"/>
              <c:tx>
                <c:rich>
                  <a:bodyPr/>
                  <a:lstStyle/>
                  <a:p>
                    <a:r>
                      <a:t>303.92</a:t>
                    </a:r>
                  </a:p>
                </c:rich>
              </c:tx>
              <c:showLegendKey val="0"/>
              <c:showVal val="1"/>
              <c:showCatName val="0"/>
              <c:showSerName val="0"/>
              <c:showPercent val="0"/>
              <c:showBubbleSize val="0"/>
            </c:dLbl>
            <c:dLbl>
              <c:idx val="6"/>
              <c:tx>
                <c:rich>
                  <a:bodyPr/>
                  <a:lstStyle/>
                  <a:p>
                    <a:r>
                      <a:t>398.0</a:t>
                    </a:r>
                  </a:p>
                </c:rich>
              </c:tx>
              <c:showLegendKey val="0"/>
              <c:showVal val="1"/>
              <c:showCatName val="0"/>
              <c:showSerName val="0"/>
              <c:showPercent val="0"/>
              <c:showBubbleSize val="0"/>
            </c:dLbl>
            <c:dLbl>
              <c:idx val="7"/>
              <c:tx>
                <c:rich>
                  <a:bodyPr/>
                  <a:lstStyle/>
                  <a:p>
                    <a:r>
                      <a:t>357.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Others Fabricante Unif. Others Marca Unif. Sunscreen Kids Cosmetics Spray 50 200Ml</c:v>
                </c:pt>
                <c:pt idx="4">
                  <c:v>Australian Gold Australian Gold Sunscreen Adults Cosmetics Spray 15 - 19 170Ml</c:v>
                </c:pt>
                <c:pt idx="5">
                  <c:v>Sun &amp; Skin Care Research Ocean Potion Sunscreen Adults Cosmetics Spray 30 - 49 156Ml</c:v>
                </c:pt>
                <c:pt idx="6">
                  <c:v>Sun &amp; Skin Care Research Ocean Potion Sunscreen Adults Cosmetics Spray 50+ 156Ml</c:v>
                </c:pt>
                <c:pt idx="7">
                  <c:v>Australian Gold Australian Gold Sunscreen Kids Cosmetics Spray 50 170Ml</c:v>
                </c:pt>
                <c:pt idx="8">
                  <c:v>Sun &amp; Skin Care Research Ocean Potion Sunscreen Adults Cosmetics Spray 50 156Ml</c:v>
                </c:pt>
                <c:pt idx="9">
                  <c:v>Sun &amp; Skin Care Research Ocean Potion Sunscreen Kids Cosmetics Spray 50 156Ml</c:v>
                </c:pt>
                <c:pt idx="10">
                  <c:v>Others Fabricante Unif. Others Marca Unif. Sunscreen Adults Cosmetics Spray 50+ 50Ml</c:v>
                </c:pt>
              </c:strCache>
            </c:strRef>
          </c:cat>
          <c:val>
            <c:numRef>
              <c:f>Sheet1!$B$2:$B$12</c:f>
              <c:numCache>
                <c:formatCode>General</c:formatCode>
                <c:ptCount val="11"/>
                <c:pt idx="0">
                  <c:v>309.22</c:v>
                </c:pt>
                <c:pt idx="1">
                  <c:v>244.93</c:v>
                </c:pt>
                <c:pt idx="2">
                  <c:v>380.56</c:v>
                </c:pt>
                <c:pt idx="3">
                  <c:v>292.03</c:v>
                </c:pt>
                <c:pt idx="4">
                  <c:v>350.53</c:v>
                </c:pt>
                <c:pt idx="5">
                  <c:v>303.92</c:v>
                </c:pt>
                <c:pt idx="6">
                  <c:v>398.0</c:v>
                </c:pt>
                <c:pt idx="7">
                  <c:v>357.0</c:v>
                </c:pt>
                <c:pt idx="8">
                  <c:v>310.0</c:v>
                </c:pt>
                <c:pt idx="9">
                  <c:v>310.0</c:v>
                </c:pt>
                <c:pt idx="10">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11.72</a:t>
                    </a:r>
                  </a:p>
                </c:rich>
              </c:tx>
              <c:showLegendKey val="0"/>
              <c:showVal val="1"/>
              <c:showCatName val="0"/>
              <c:showSerName val="0"/>
              <c:showPercent val="0"/>
              <c:showBubbleSize val="0"/>
            </c:dLbl>
            <c:dLbl>
              <c:idx val="2"/>
              <c:tx>
                <c:rich>
                  <a:bodyPr/>
                  <a:lstStyle/>
                  <a:p>
                    <a:r>
                      <a:t>94.87</a:t>
                    </a:r>
                  </a:p>
                </c:rich>
              </c:tx>
              <c:showLegendKey val="0"/>
              <c:showVal val="1"/>
              <c:showCatName val="0"/>
              <c:showSerName val="0"/>
              <c:showPercent val="0"/>
              <c:showBubbleSize val="0"/>
            </c:dLbl>
            <c:dLbl>
              <c:idx val="3"/>
              <c:tx>
                <c:rich>
                  <a:bodyPr/>
                  <a:lstStyle/>
                  <a:p>
                    <a:r>
                      <a:t>81.74</a:t>
                    </a:r>
                  </a:p>
                </c:rich>
              </c:tx>
              <c:showLegendKey val="0"/>
              <c:showVal val="1"/>
              <c:showCatName val="0"/>
              <c:showSerName val="0"/>
              <c:showPercent val="0"/>
              <c:showBubbleSize val="0"/>
            </c:dLbl>
            <c:dLbl>
              <c:idx val="4"/>
              <c:tx>
                <c:rich>
                  <a:bodyPr/>
                  <a:lstStyle/>
                  <a:p>
                    <a:r>
                      <a:t>369.83</a:t>
                    </a:r>
                  </a:p>
                </c:rich>
              </c:tx>
              <c:showLegendKey val="0"/>
              <c:showVal val="1"/>
              <c:showCatName val="0"/>
              <c:showSerName val="0"/>
              <c:showPercent val="0"/>
              <c:showBubbleSize val="0"/>
            </c:dLbl>
            <c:dLbl>
              <c:idx val="5"/>
              <c:tx>
                <c:rich>
                  <a:bodyPr/>
                  <a:lstStyle/>
                  <a:p>
                    <a:r>
                      <a:t>245.0</a:t>
                    </a:r>
                  </a:p>
                </c:rich>
              </c:tx>
              <c:showLegendKey val="0"/>
              <c:showVal val="1"/>
              <c:showCatName val="0"/>
              <c:showSerName val="0"/>
              <c:showPercent val="0"/>
              <c:showBubbleSize val="0"/>
            </c:dLbl>
            <c:dLbl>
              <c:idx val="6"/>
              <c:tx>
                <c:rich>
                  <a:bodyPr/>
                  <a:lstStyle/>
                  <a:p>
                    <a:r>
                      <a:t>8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Others Fabricante Unif. Others Marca Unif. Sunscreen Adults Sport Crema 50 177Ml</c:v>
                </c:pt>
                <c:pt idx="5">
                  <c:v>Sun &amp; Skin Care Research No-Ad Sunscreen Adults Sport Crema 50 250Ml</c:v>
                </c:pt>
                <c:pt idx="6">
                  <c:v>Others Fabricante Unif. Others Marca Unif. Sunscreen Adults Sport Crema 50+ 150Ml</c:v>
                </c:pt>
              </c:strCache>
            </c:strRef>
          </c:cat>
          <c:val>
            <c:numRef>
              <c:f>Sheet1!$B$2:$B$8</c:f>
              <c:numCache>
                <c:formatCode>General</c:formatCode>
                <c:ptCount val="7"/>
                <c:pt idx="0">
                  <c:v>303.99</c:v>
                </c:pt>
                <c:pt idx="1">
                  <c:v>311.72</c:v>
                </c:pt>
                <c:pt idx="2">
                  <c:v>94.87</c:v>
                </c:pt>
                <c:pt idx="3">
                  <c:v>81.74</c:v>
                </c:pt>
                <c:pt idx="4">
                  <c:v>369.83</c:v>
                </c:pt>
                <c:pt idx="5">
                  <c:v>245.0</c:v>
                </c:pt>
                <c:pt idx="6">
                  <c:v>8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69</a:t>
                    </a:r>
                  </a:p>
                </c:rich>
              </c:tx>
              <c:showLegendKey val="0"/>
              <c:showVal val="1"/>
              <c:showCatName val="0"/>
              <c:showSerName val="0"/>
              <c:showPercent val="0"/>
              <c:showBubbleSize val="0"/>
            </c:dLbl>
            <c:dLbl>
              <c:idx val="1"/>
              <c:tx>
                <c:rich>
                  <a:bodyPr/>
                  <a:lstStyle/>
                  <a:p>
                    <a:r>
                      <a:t>334.03</a:t>
                    </a:r>
                  </a:p>
                </c:rich>
              </c:tx>
              <c:showLegendKey val="0"/>
              <c:showVal val="1"/>
              <c:showCatName val="0"/>
              <c:showSerName val="0"/>
              <c:showPercent val="0"/>
              <c:showBubbleSize val="0"/>
            </c:dLbl>
            <c:dLbl>
              <c:idx val="2"/>
              <c:tx>
                <c:rich>
                  <a:bodyPr/>
                  <a:lstStyle/>
                  <a:p>
                    <a:r>
                      <a:t>88.11</a:t>
                    </a:r>
                  </a:p>
                </c:rich>
              </c:tx>
              <c:showLegendKey val="0"/>
              <c:showVal val="1"/>
              <c:showCatName val="0"/>
              <c:showSerName val="0"/>
              <c:showPercent val="0"/>
              <c:showBubbleSize val="0"/>
            </c:dLbl>
            <c:dLbl>
              <c:idx val="3"/>
              <c:tx>
                <c:rich>
                  <a:bodyPr/>
                  <a:lstStyle/>
                  <a:p>
                    <a:r>
                      <a:t>2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Australian Gold Australian Gold Sunscreen Adults Sport Liquido 30 - 49 200Ml</c:v>
                </c:pt>
              </c:strCache>
            </c:strRef>
          </c:cat>
          <c:val>
            <c:numRef>
              <c:f>Sheet1!$B$2:$B$5</c:f>
              <c:numCache>
                <c:formatCode>General</c:formatCode>
                <c:ptCount val="4"/>
                <c:pt idx="0">
                  <c:v>308.69</c:v>
                </c:pt>
                <c:pt idx="1">
                  <c:v>334.03</c:v>
                </c:pt>
                <c:pt idx="2">
                  <c:v>88.11</c:v>
                </c:pt>
                <c:pt idx="3">
                  <c:v>2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6.05</a:t>
                    </a:r>
                  </a:p>
                </c:rich>
              </c:tx>
              <c:showLegendKey val="0"/>
              <c:showVal val="1"/>
              <c:showCatName val="0"/>
              <c:showSerName val="0"/>
              <c:showPercent val="0"/>
              <c:showBubbleSize val="0"/>
            </c:dLbl>
            <c:dLbl>
              <c:idx val="1"/>
              <c:tx>
                <c:rich>
                  <a:bodyPr/>
                  <a:lstStyle/>
                  <a:p>
                    <a:r>
                      <a:t>288.77</a:t>
                    </a:r>
                  </a:p>
                </c:rich>
              </c:tx>
              <c:showLegendKey val="0"/>
              <c:showVal val="1"/>
              <c:showCatName val="0"/>
              <c:showSerName val="0"/>
              <c:showPercent val="0"/>
              <c:showBubbleSize val="0"/>
            </c:dLbl>
            <c:dLbl>
              <c:idx val="2"/>
              <c:tx>
                <c:rich>
                  <a:bodyPr/>
                  <a:lstStyle/>
                  <a:p>
                    <a:r>
                      <a:t>270.85</a:t>
                    </a:r>
                  </a:p>
                </c:rich>
              </c:tx>
              <c:showLegendKey val="0"/>
              <c:showVal val="1"/>
              <c:showCatName val="0"/>
              <c:showSerName val="0"/>
              <c:showPercent val="0"/>
              <c:showBubbleSize val="0"/>
            </c:dLbl>
            <c:dLbl>
              <c:idx val="3"/>
              <c:tx>
                <c:rich>
                  <a:bodyPr/>
                  <a:lstStyle/>
                  <a:p>
                    <a:r>
                      <a:t>2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Liquido 50 220Ml</c:v>
                </c:pt>
                <c:pt idx="1">
                  <c:v>Edgewell Banana Boat Advanced Protection Sunscreen Adults Sport Spray Liquido 50+ 170Ml</c:v>
                </c:pt>
                <c:pt idx="2">
                  <c:v>Edgewell Banana Boat Advanced Protection Sunscreen Adults Sport Liquido 50 180Ml</c:v>
                </c:pt>
                <c:pt idx="3">
                  <c:v>Australian Gold Australian Gold Sunscreen Adults Sport Liquido 30 - 49 200Ml</c:v>
                </c:pt>
              </c:strCache>
            </c:strRef>
          </c:cat>
          <c:val>
            <c:numRef>
              <c:f>Sheet1!$B$2:$B$5</c:f>
              <c:numCache>
                <c:formatCode>General</c:formatCode>
                <c:ptCount val="4"/>
                <c:pt idx="0">
                  <c:v>316.05</c:v>
                </c:pt>
                <c:pt idx="1">
                  <c:v>288.77</c:v>
                </c:pt>
                <c:pt idx="2">
                  <c:v>270.85</c:v>
                </c:pt>
                <c:pt idx="3">
                  <c:v>2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13</a:t>
                    </a:r>
                  </a:p>
                </c:rich>
              </c:tx>
              <c:showLegendKey val="0"/>
              <c:showVal val="1"/>
              <c:showCatName val="0"/>
              <c:showSerName val="0"/>
              <c:showPercent val="0"/>
              <c:showBubbleSize val="0"/>
            </c:dLbl>
            <c:dLbl>
              <c:idx val="1"/>
              <c:tx>
                <c:rich>
                  <a:bodyPr/>
                  <a:lstStyle/>
                  <a:p>
                    <a:r>
                      <a:t>333.98</a:t>
                    </a:r>
                  </a:p>
                </c:rich>
              </c:tx>
              <c:showLegendKey val="0"/>
              <c:showVal val="1"/>
              <c:showCatName val="0"/>
              <c:showSerName val="0"/>
              <c:showPercent val="0"/>
              <c:showBubbleSize val="0"/>
            </c:dLbl>
            <c:dLbl>
              <c:idx val="2"/>
              <c:tx>
                <c:rich>
                  <a:bodyPr/>
                  <a:lstStyle/>
                  <a:p>
                    <a:r>
                      <a:t>88.81</a:t>
                    </a:r>
                  </a:p>
                </c:rich>
              </c:tx>
              <c:showLegendKey val="0"/>
              <c:showVal val="1"/>
              <c:showCatName val="0"/>
              <c:showSerName val="0"/>
              <c:showPercent val="0"/>
              <c:showBubbleSize val="0"/>
            </c:dLbl>
            <c:dLbl>
              <c:idx val="3"/>
              <c:tx>
                <c:rich>
                  <a:bodyPr/>
                  <a:lstStyle/>
                  <a:p>
                    <a:r>
                      <a:t>289.69</a:t>
                    </a:r>
                  </a:p>
                </c:rich>
              </c:tx>
              <c:showLegendKey val="0"/>
              <c:showVal val="1"/>
              <c:showCatName val="0"/>
              <c:showSerName val="0"/>
              <c:showPercent val="0"/>
              <c:showBubbleSize val="0"/>
            </c:dLbl>
            <c:dLbl>
              <c:idx val="4"/>
              <c:tx>
                <c:rich>
                  <a:bodyPr/>
                  <a:lstStyle/>
                  <a:p>
                    <a:r>
                      <a:t>377.47</a:t>
                    </a:r>
                  </a:p>
                </c:rich>
              </c:tx>
              <c:showLegendKey val="0"/>
              <c:showVal val="1"/>
              <c:showCatName val="0"/>
              <c:showSerName val="0"/>
              <c:showPercent val="0"/>
              <c:showBubbleSize val="0"/>
            </c:dLbl>
            <c:dLbl>
              <c:idx val="5"/>
              <c:tx>
                <c:rich>
                  <a:bodyPr/>
                  <a:lstStyle/>
                  <a:p>
                    <a:r>
                      <a:t>303.15</a:t>
                    </a:r>
                  </a:p>
                </c:rich>
              </c:tx>
              <c:showLegendKey val="0"/>
              <c:showVal val="1"/>
              <c:showCatName val="0"/>
              <c:showSerName val="0"/>
              <c:showPercent val="0"/>
              <c:showBubbleSize val="0"/>
            </c:dLbl>
            <c:dLbl>
              <c:idx val="6"/>
              <c:tx>
                <c:rich>
                  <a:bodyPr/>
                  <a:lstStyle/>
                  <a:p>
                    <a:r>
                      <a:t>415.0</a:t>
                    </a:r>
                  </a:p>
                </c:rich>
              </c:tx>
              <c:showLegendKey val="0"/>
              <c:showVal val="1"/>
              <c:showCatName val="0"/>
              <c:showSerName val="0"/>
              <c:showPercent val="0"/>
              <c:showBubbleSize val="0"/>
            </c:dLbl>
            <c:dLbl>
              <c:idx val="7"/>
              <c:tx>
                <c:rich>
                  <a:bodyPr/>
                  <a:lstStyle/>
                  <a:p>
                    <a:r>
                      <a:t>134.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170Ml</c:v>
                </c:pt>
                <c:pt idx="1">
                  <c:v>Edgewell Banana Boat Mineral Sunscreen Adults Sport Locion 50 180Ml</c:v>
                </c:pt>
                <c:pt idx="2">
                  <c:v>Edgewell Banana Boat Dry Balance Sunscreen Adults Sport Locion 50+ 60Ml</c:v>
                </c:pt>
                <c:pt idx="3">
                  <c:v>Others Fabricante Unif. Others Marca Unif. Sunscreen Adults Sport Spray Locion 50 200Ml</c:v>
                </c:pt>
                <c:pt idx="4">
                  <c:v>Australian Gold Australian Gold Sunscreen Adults Sport Spray Locion 30 170Ml</c:v>
                </c:pt>
                <c:pt idx="5">
                  <c:v>Australian Gold Australian Gold Sunscreen Adults Sport Locion 30 237Ml</c:v>
                </c:pt>
                <c:pt idx="6">
                  <c:v>Others Fabricante Unif. Others Marca Unif. Sunscreen Adults Sport Spray Locion 50+ 100Ml</c:v>
                </c:pt>
                <c:pt idx="7">
                  <c:v>Bayer Consumer Care Coppertone Sunscreen Adults Sport Locion 50 207Ml</c:v>
                </c:pt>
              </c:strCache>
            </c:strRef>
          </c:cat>
          <c:val>
            <c:numRef>
              <c:f>Sheet1!$B$2:$B$9</c:f>
              <c:numCache>
                <c:formatCode>General</c:formatCode>
                <c:ptCount val="8"/>
                <c:pt idx="0">
                  <c:v>325.13</c:v>
                </c:pt>
                <c:pt idx="1">
                  <c:v>333.98</c:v>
                </c:pt>
                <c:pt idx="2">
                  <c:v>88.81</c:v>
                </c:pt>
                <c:pt idx="3">
                  <c:v>289.69</c:v>
                </c:pt>
                <c:pt idx="4">
                  <c:v>377.47</c:v>
                </c:pt>
                <c:pt idx="5">
                  <c:v>303.15</c:v>
                </c:pt>
                <c:pt idx="6">
                  <c:v>415.0</c:v>
                </c:pt>
                <c:pt idx="7">
                  <c:v>134.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2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67</a:t>
                    </a:r>
                  </a:p>
                </c:rich>
              </c:tx>
              <c:showLegendKey val="0"/>
              <c:showVal val="1"/>
              <c:showCatName val="0"/>
              <c:showSerName val="0"/>
              <c:showPercent val="0"/>
              <c:showBubbleSize val="0"/>
            </c:dLbl>
            <c:dLbl>
              <c:idx val="1"/>
              <c:tx>
                <c:rich>
                  <a:bodyPr/>
                  <a:lstStyle/>
                  <a:p>
                    <a:r>
                      <a:t>409.15</a:t>
                    </a:r>
                  </a:p>
                </c:rich>
              </c:tx>
              <c:showLegendKey val="0"/>
              <c:showVal val="1"/>
              <c:showCatName val="0"/>
              <c:showSerName val="0"/>
              <c:showPercent val="0"/>
              <c:showBubbleSize val="0"/>
            </c:dLbl>
            <c:dLbl>
              <c:idx val="2"/>
              <c:tx>
                <c:rich>
                  <a:bodyPr/>
                  <a:lstStyle/>
                  <a:p>
                    <a:r>
                      <a:t>335.94</a:t>
                    </a:r>
                  </a:p>
                </c:rich>
              </c:tx>
              <c:showLegendKey val="0"/>
              <c:showVal val="1"/>
              <c:showCatName val="0"/>
              <c:showSerName val="0"/>
              <c:showPercent val="0"/>
              <c:showBubbleSize val="0"/>
            </c:dLbl>
            <c:dLbl>
              <c:idx val="3"/>
              <c:tx>
                <c:rich>
                  <a:bodyPr/>
                  <a:lstStyle/>
                  <a:p>
                    <a:r>
                      <a:t>1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50+ 170Ml</c:v>
                </c:pt>
                <c:pt idx="1">
                  <c:v>Australian Gold Australian Gold Sunscreen Adults Sport Spray 50 170Ml</c:v>
                </c:pt>
                <c:pt idx="2">
                  <c:v>Sun &amp; Skin Care Research Ocean Potion Sunscreen Adults Sport Spray 50 156Ml</c:v>
                </c:pt>
                <c:pt idx="3">
                  <c:v>Others Fabricante Unif. Others Marca Unif. Sunscreen Adults Sport Spray 50+ 150Ml</c:v>
                </c:pt>
              </c:strCache>
            </c:strRef>
          </c:cat>
          <c:val>
            <c:numRef>
              <c:f>Sheet1!$B$2:$B$5</c:f>
              <c:numCache>
                <c:formatCode>General</c:formatCode>
                <c:ptCount val="4"/>
                <c:pt idx="0">
                  <c:v>409.67</c:v>
                </c:pt>
                <c:pt idx="1">
                  <c:v>409.15</c:v>
                </c:pt>
                <c:pt idx="2">
                  <c:v>335.94</c:v>
                </c:pt>
                <c:pt idx="3">
                  <c:v>1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dLblPos val="t"/>
              <c:showLegendKey val="0"/>
              <c:showVal val="1"/>
              <c:showCatName val="0"/>
              <c:showSerName val="0"/>
              <c:showPercent val="0"/>
              <c:showBubbleSize val="0"/>
            </c:dLbl>
            <c:dLbl>
              <c:idx val="1"/>
              <c:tx>
                <c:rich>
                  <a:bodyPr/>
                  <a:lstStyle/>
                  <a:p>
                    <a:r>
                      <a:t>306.84</a:t>
                    </a:r>
                  </a:p>
                </c:rich>
              </c:tx>
              <c:dLblPos val="t"/>
              <c:showLegendKey val="0"/>
              <c:showVal val="1"/>
              <c:showCatName val="0"/>
              <c:showSerName val="0"/>
              <c:showPercent val="0"/>
              <c:showBubbleSize val="0"/>
            </c:dLbl>
            <c:dLbl>
              <c:idx val="2"/>
              <c:tx>
                <c:rich>
                  <a:bodyPr/>
                  <a:lstStyle/>
                  <a:p>
                    <a:r>
                      <a:t>308.69</a:t>
                    </a:r>
                  </a:p>
                </c:rich>
              </c:tx>
              <c:dLblPos val="t"/>
              <c:showLegendKey val="0"/>
              <c:showVal val="1"/>
              <c:showCatName val="0"/>
              <c:showSerName val="0"/>
              <c:showPercent val="0"/>
              <c:showBubbleSize val="0"/>
            </c:dLbl>
            <c:dLbl>
              <c:idx val="3"/>
              <c:tx>
                <c:rich>
                  <a:bodyPr/>
                  <a:lstStyle/>
                  <a:p>
                    <a:r>
                      <a:t>334.03</a:t>
                    </a:r>
                  </a:p>
                </c:rich>
              </c:tx>
              <c:dLblPos val="t"/>
              <c:showLegendKey val="0"/>
              <c:showVal val="1"/>
              <c:showCatName val="0"/>
              <c:showSerName val="0"/>
              <c:showPercent val="0"/>
              <c:showBubbleSize val="0"/>
            </c:dLbl>
            <c:dLbl>
              <c:idx val="4"/>
              <c:tx>
                <c:rich>
                  <a:bodyPr/>
                  <a:lstStyle/>
                  <a:p>
                    <a:r>
                      <a:t>189.32</a:t>
                    </a:r>
                  </a:p>
                </c:rich>
              </c:tx>
              <c:dLblPos val="t"/>
              <c:showLegendKey val="0"/>
              <c:showVal val="1"/>
              <c:showCatName val="0"/>
              <c:showSerName val="0"/>
              <c:showPercent val="0"/>
              <c:showBubbleSize val="0"/>
            </c:dLbl>
            <c:dLbl>
              <c:idx val="5"/>
              <c:tx>
                <c:rich>
                  <a:bodyPr/>
                  <a:lstStyle/>
                  <a:p>
                    <a:r>
                      <a:t>327.07</a:t>
                    </a:r>
                  </a:p>
                </c:rich>
              </c:tx>
              <c:dLblPos val="t"/>
              <c:showLegendKey val="0"/>
              <c:showVal val="1"/>
              <c:showCatName val="0"/>
              <c:showSerName val="0"/>
              <c:showPercent val="0"/>
              <c:showBubbleSize val="0"/>
            </c:dLbl>
            <c:dLbl>
              <c:idx val="6"/>
              <c:tx>
                <c:rich>
                  <a:bodyPr/>
                  <a:lstStyle/>
                  <a:p>
                    <a:r>
                      <a:t>102.57</a:t>
                    </a:r>
                  </a:p>
                </c:rich>
              </c:tx>
              <c:dLblPos val="t"/>
              <c:showLegendKey val="0"/>
              <c:showVal val="1"/>
              <c:showCatName val="0"/>
              <c:showSerName val="0"/>
              <c:showPercent val="0"/>
              <c:showBubbleSize val="0"/>
            </c:dLbl>
            <c:dLbl>
              <c:idx val="7"/>
              <c:tx>
                <c:rich>
                  <a:bodyPr/>
                  <a:lstStyle/>
                  <a:p>
                    <a:r>
                      <a:t>301.33</a:t>
                    </a:r>
                  </a:p>
                </c:rich>
              </c:tx>
              <c:dLblPos val="t"/>
              <c:showLegendKey val="0"/>
              <c:showVal val="1"/>
              <c:showCatName val="0"/>
              <c:showSerName val="0"/>
              <c:showPercent val="0"/>
              <c:showBubbleSize val="0"/>
            </c:dLbl>
            <c:dLbl>
              <c:idx val="8"/>
              <c:tx>
                <c:rich>
                  <a:bodyPr/>
                  <a:lstStyle/>
                  <a:p>
                    <a:r>
                      <a:t>311.77</a:t>
                    </a:r>
                  </a:p>
                </c:rich>
              </c:tx>
              <c:dLblPos val="t"/>
              <c:showLegendKey val="0"/>
              <c:showVal val="1"/>
              <c:showCatName val="0"/>
              <c:showSerName val="0"/>
              <c:showPercent val="0"/>
              <c:showBubbleSize val="0"/>
            </c:dLbl>
            <c:dLbl>
              <c:idx val="9"/>
              <c:tx>
                <c:rich>
                  <a:bodyPr/>
                  <a:lstStyle/>
                  <a:p>
                    <a:r>
                      <a:t>88.11</a:t>
                    </a:r>
                  </a:p>
                </c:rich>
              </c:tx>
              <c:dLblPos val="t"/>
              <c:showLegendKey val="0"/>
              <c:showVal val="1"/>
              <c:showCatName val="0"/>
              <c:showSerName val="0"/>
              <c:showPercent val="0"/>
              <c:showBubbleSize val="0"/>
            </c:dLbl>
            <c:dLbl>
              <c:idx val="10"/>
              <c:tx>
                <c:rich>
                  <a:bodyPr/>
                  <a:lstStyle/>
                  <a:p>
                    <a:r>
                      <a:t>296.15</a:t>
                    </a:r>
                  </a:p>
                </c:rich>
              </c:tx>
              <c:dLblPos val="t"/>
              <c:showLegendKey val="0"/>
              <c:showVal val="1"/>
              <c:showCatName val="0"/>
              <c:showSerName val="0"/>
              <c:showPercent val="0"/>
              <c:showBubbleSize val="0"/>
            </c:dLbl>
            <c:dLbl>
              <c:idx val="11"/>
              <c:tx>
                <c:rich>
                  <a:bodyPr/>
                  <a:lstStyle/>
                  <a:p>
                    <a:r>
                      <a:t>190.97</a:t>
                    </a:r>
                  </a:p>
                </c:rich>
              </c:tx>
              <c:dLblPos val="t"/>
              <c:showLegendKey val="0"/>
              <c:showVal val="1"/>
              <c:showCatName val="0"/>
              <c:showSerName val="0"/>
              <c:showPercent val="0"/>
              <c:showBubbleSize val="0"/>
            </c:dLbl>
            <c:dLbl>
              <c:idx val="12"/>
              <c:tx>
                <c:rich>
                  <a:bodyPr/>
                  <a:lstStyle/>
                  <a:p>
                    <a:r>
                      <a:t>326.11</a:t>
                    </a:r>
                  </a:p>
                </c:rich>
              </c:tx>
              <c:dLblPos val="t"/>
              <c:showLegendKey val="0"/>
              <c:showVal val="1"/>
              <c:showCatName val="0"/>
              <c:showSerName val="0"/>
              <c:showPercent val="0"/>
              <c:showBubbleSize val="0"/>
            </c:dLbl>
            <c:dLbl>
              <c:idx val="13"/>
              <c:tx>
                <c:rich>
                  <a:bodyPr/>
                  <a:lstStyle/>
                  <a:p>
                    <a:r>
                      <a:t>287.71</a:t>
                    </a:r>
                  </a:p>
                </c:rich>
              </c:tx>
              <c:dLblPos val="t"/>
              <c:showLegendKey val="0"/>
              <c:showVal val="1"/>
              <c:showCatName val="0"/>
              <c:showSerName val="0"/>
              <c:showPercent val="0"/>
              <c:showBubbleSize val="0"/>
            </c:dLbl>
            <c:dLbl>
              <c:idx val="14"/>
              <c:tx>
                <c:rich>
                  <a:bodyPr/>
                  <a:lstStyle/>
                  <a:p>
                    <a:r>
                      <a:t>188.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Sheer Touch Sunscreen Adults Cosmetics Crema 50 120Ml</c:v>
                </c:pt>
                <c:pt idx="5">
                  <c:v>Edgewell Hawaiian Tropic Ozono Sunscreen Adults Cosmetics Spray Liquido 50+ 180Ml</c:v>
                </c:pt>
                <c:pt idx="6">
                  <c:v>Edgewell Hawaiian Tropic Ozono Sunscreen Adults Cosmetics Liquido 50+ 90Ml</c:v>
                </c:pt>
                <c:pt idx="7">
                  <c:v>Edgewell Hawaiian Tropic Sheer Touch Sunscreen Adults Cosmetics Crema 30 - 49 240Ml</c:v>
                </c:pt>
                <c:pt idx="8">
                  <c:v>Edgewell Hawaiian Tropic Silk Hydration Sunscreen Adults Cosmetics Liquido 50 180Ml</c:v>
                </c:pt>
                <c:pt idx="9">
                  <c:v>Edgewell Hawaiian Tropic Island Sport Sunscreen Adults Sport Liquido 50 60Ml</c:v>
                </c:pt>
                <c:pt idx="10">
                  <c:v>Edgewell Hawaiian Tropic Tanning Sunscreen Adults Cosmetics Spray Liquido 15 - 19 220Ml</c:v>
                </c:pt>
                <c:pt idx="11">
                  <c:v>Edgewell Hawaiian Tropic Ozono Sunscreen Adults Cosmetics Liquido 50+ 12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74</c:v>
                </c:pt>
                <c:pt idx="1">
                  <c:v>306.84</c:v>
                </c:pt>
                <c:pt idx="2">
                  <c:v>308.69</c:v>
                </c:pt>
                <c:pt idx="3">
                  <c:v>334.03</c:v>
                </c:pt>
                <c:pt idx="4">
                  <c:v>189.32</c:v>
                </c:pt>
                <c:pt idx="5">
                  <c:v>327.07</c:v>
                </c:pt>
                <c:pt idx="6">
                  <c:v>102.57</c:v>
                </c:pt>
                <c:pt idx="7">
                  <c:v>301.33</c:v>
                </c:pt>
                <c:pt idx="8">
                  <c:v>311.77</c:v>
                </c:pt>
                <c:pt idx="9">
                  <c:v>88.11</c:v>
                </c:pt>
                <c:pt idx="10">
                  <c:v>296.15</c:v>
                </c:pt>
                <c:pt idx="11">
                  <c:v>190.97</c:v>
                </c:pt>
                <c:pt idx="12">
                  <c:v>326.11</c:v>
                </c:pt>
                <c:pt idx="13">
                  <c:v>287.71</c:v>
                </c:pt>
                <c:pt idx="14">
                  <c:v>188.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07</a:t>
                    </a:r>
                  </a:p>
                </c:rich>
              </c:tx>
              <c:dLblPos val="t"/>
              <c:showLegendKey val="0"/>
              <c:showVal val="1"/>
              <c:showCatName val="0"/>
              <c:showSerName val="0"/>
              <c:showPercent val="0"/>
              <c:showBubbleSize val="0"/>
            </c:dLbl>
            <c:dLbl>
              <c:idx val="1"/>
              <c:tx>
                <c:rich>
                  <a:bodyPr/>
                  <a:lstStyle/>
                  <a:p>
                    <a:r>
                      <a:t>309.4</a:t>
                    </a:r>
                  </a:p>
                </c:rich>
              </c:tx>
              <c:dLblPos val="t"/>
              <c:showLegendKey val="0"/>
              <c:showVal val="1"/>
              <c:showCatName val="0"/>
              <c:showSerName val="0"/>
              <c:showPercent val="0"/>
              <c:showBubbleSize val="0"/>
            </c:dLbl>
            <c:dLbl>
              <c:idx val="2"/>
              <c:tx>
                <c:rich>
                  <a:bodyPr/>
                  <a:lstStyle/>
                  <a:p>
                    <a:r>
                      <a:t>268.09</a:t>
                    </a:r>
                  </a:p>
                </c:rich>
              </c:tx>
              <c:dLblPos val="t"/>
              <c:showLegendKey val="0"/>
              <c:showVal val="1"/>
              <c:showCatName val="0"/>
              <c:showSerName val="0"/>
              <c:showPercent val="0"/>
              <c:showBubbleSize val="0"/>
            </c:dLbl>
            <c:dLbl>
              <c:idx val="3"/>
              <c:tx>
                <c:rich>
                  <a:bodyPr/>
                  <a:lstStyle/>
                  <a:p>
                    <a:r>
                      <a:t>308.6</a:t>
                    </a:r>
                  </a:p>
                </c:rich>
              </c:tx>
              <c:dLblPos val="t"/>
              <c:showLegendKey val="0"/>
              <c:showVal val="1"/>
              <c:showCatName val="0"/>
              <c:showSerName val="0"/>
              <c:showPercent val="0"/>
              <c:showBubbleSize val="0"/>
            </c:dLbl>
            <c:dLbl>
              <c:idx val="4"/>
              <c:tx>
                <c:rich>
                  <a:bodyPr/>
                  <a:lstStyle/>
                  <a:p>
                    <a:r>
                      <a:t>305.0</a:t>
                    </a:r>
                  </a:p>
                </c:rich>
              </c:tx>
              <c:dLblPos val="t"/>
              <c:showLegendKey val="0"/>
              <c:showVal val="1"/>
              <c:showCatName val="0"/>
              <c:showSerName val="0"/>
              <c:showPercent val="0"/>
              <c:showBubbleSize val="0"/>
            </c:dLbl>
            <c:dLbl>
              <c:idx val="5"/>
              <c:tx>
                <c:rich>
                  <a:bodyPr/>
                  <a:lstStyle/>
                  <a:p>
                    <a:r>
                      <a:t>281.45</a:t>
                    </a:r>
                  </a:p>
                </c:rich>
              </c:tx>
              <c:dLblPos val="t"/>
              <c:showLegendKey val="0"/>
              <c:showVal val="1"/>
              <c:showCatName val="0"/>
              <c:showSerName val="0"/>
              <c:showPercent val="0"/>
              <c:showBubbleSize val="0"/>
            </c:dLbl>
            <c:dLbl>
              <c:idx val="6"/>
              <c:tx>
                <c:rich>
                  <a:bodyPr/>
                  <a:lstStyle/>
                  <a:p>
                    <a:r>
                      <a:t>254.7</a:t>
                    </a:r>
                  </a:p>
                </c:rich>
              </c:tx>
              <c:dLblPos val="t"/>
              <c:showLegendKey val="0"/>
              <c:showVal val="1"/>
              <c:showCatName val="0"/>
              <c:showSerName val="0"/>
              <c:showPercent val="0"/>
              <c:showBubbleSize val="0"/>
            </c:dLbl>
            <c:dLbl>
              <c:idx val="7"/>
              <c:tx>
                <c:rich>
                  <a:bodyPr/>
                  <a:lstStyle/>
                  <a:p>
                    <a:r>
                      <a:t>82.86</a:t>
                    </a:r>
                  </a:p>
                </c:rich>
              </c:tx>
              <c:dLblPos val="t"/>
              <c:showLegendKey val="0"/>
              <c:showVal val="1"/>
              <c:showCatName val="0"/>
              <c:showSerName val="0"/>
              <c:showPercent val="0"/>
              <c:showBubbleSize val="0"/>
            </c:dLbl>
            <c:dLbl>
              <c:idx val="8"/>
              <c:tx>
                <c:rich>
                  <a:bodyPr/>
                  <a:lstStyle/>
                  <a:p>
                    <a:r>
                      <a:t>319.23</a:t>
                    </a:r>
                  </a:p>
                </c:rich>
              </c:tx>
              <c:dLblPos val="t"/>
              <c:showLegendKey val="0"/>
              <c:showVal val="1"/>
              <c:showCatName val="0"/>
              <c:showSerName val="0"/>
              <c:showPercent val="0"/>
              <c:showBubbleSize val="0"/>
            </c:dLbl>
            <c:dLbl>
              <c:idx val="9"/>
              <c:tx>
                <c:rich>
                  <a:bodyPr/>
                  <a:lstStyle/>
                  <a:p>
                    <a:r>
                      <a:t>318.18</a:t>
                    </a:r>
                  </a:p>
                </c:rich>
              </c:tx>
              <c:dLblPos val="t"/>
              <c:showLegendKey val="0"/>
              <c:showVal val="1"/>
              <c:showCatName val="0"/>
              <c:showSerName val="0"/>
              <c:showPercent val="0"/>
              <c:showBubbleSize val="0"/>
            </c:dLbl>
            <c:dLbl>
              <c:idx val="10"/>
              <c:tx>
                <c:rich>
                  <a:bodyPr/>
                  <a:lstStyle/>
                  <a:p>
                    <a:r>
                      <a:t>312.31</a:t>
                    </a:r>
                  </a:p>
                </c:rich>
              </c:tx>
              <c:dLblPos val="t"/>
              <c:showLegendKey val="0"/>
              <c:showVal val="1"/>
              <c:showCatName val="0"/>
              <c:showSerName val="0"/>
              <c:showPercent val="0"/>
              <c:showBubbleSize val="0"/>
            </c:dLbl>
            <c:dLbl>
              <c:idx val="11"/>
              <c:tx>
                <c:rich>
                  <a:bodyPr/>
                  <a:lstStyle/>
                  <a:p>
                    <a:r>
                      <a:t>240.15</a:t>
                    </a:r>
                  </a:p>
                </c:rich>
              </c:tx>
              <c:dLblPos val="t"/>
              <c:showLegendKey val="0"/>
              <c:showVal val="1"/>
              <c:showCatName val="0"/>
              <c:showSerName val="0"/>
              <c:showPercent val="0"/>
              <c:showBubbleSize val="0"/>
            </c:dLbl>
            <c:dLbl>
              <c:idx val="12"/>
              <c:tx>
                <c:rich>
                  <a:bodyPr/>
                  <a:lstStyle/>
                  <a:p>
                    <a:r>
                      <a:t>292.13</a:t>
                    </a:r>
                  </a:p>
                </c:rich>
              </c:tx>
              <c:dLblPos val="t"/>
              <c:showLegendKey val="0"/>
              <c:showVal val="1"/>
              <c:showCatName val="0"/>
              <c:showSerName val="0"/>
              <c:showPercent val="0"/>
              <c:showBubbleSize val="0"/>
            </c:dLbl>
            <c:dLbl>
              <c:idx val="13"/>
              <c:tx>
                <c:rich>
                  <a:bodyPr/>
                  <a:lstStyle/>
                  <a:p>
                    <a:r>
                      <a:t>239.97</a:t>
                    </a:r>
                  </a:p>
                </c:rich>
              </c:tx>
              <c:dLblPos val="t"/>
              <c:showLegendKey val="0"/>
              <c:showVal val="1"/>
              <c:showCatName val="0"/>
              <c:showSerName val="0"/>
              <c:showPercent val="0"/>
              <c:showBubbleSize val="0"/>
            </c:dLbl>
            <c:dLbl>
              <c:idx val="14"/>
              <c:tx>
                <c:rich>
                  <a:bodyPr/>
                  <a:lstStyle/>
                  <a:p>
                    <a:r>
                      <a:t>147.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Aqua Protect Sunscreen Adults Cosmetics Spray Liquido 50+ 170Ml</c:v>
                </c:pt>
                <c:pt idx="4">
                  <c:v>Edgewell Banana Boat Dry Balance Sunscreen Adults Sport Spray Liquido 50 220Ml</c:v>
                </c:pt>
                <c:pt idx="5">
                  <c:v>Edgewell Banana Boat Advanced Protection Sunscreen Adults Cosmetics Liquido 50+ 24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Sport Locion 50 180Ml</c:v>
                </c:pt>
                <c:pt idx="10">
                  <c:v>Edgewell Banana Boat Mineral Sunscreen Adults Cosmetics Locion 50 180Ml</c:v>
                </c:pt>
                <c:pt idx="11">
                  <c:v>Edgewell Banana Boat Kids Sport Sunscreen Kids Cosmetics Crema 50 180Ml</c:v>
                </c:pt>
                <c:pt idx="12">
                  <c:v>Edgewell Banana Boat Dry Balance Sunscreen Adults Sport Crema 50+ 180Ml</c:v>
                </c:pt>
                <c:pt idx="13">
                  <c:v>Edgewell Banana Boat Advanced Protection Sunscreen Adults Cosmetics Liquido 50 180Ml</c:v>
                </c:pt>
                <c:pt idx="14">
                  <c:v>Edgewell Banana Boat After Sun After Sun Adults Cosmetics Gel 0 - 5 230Ml</c:v>
                </c:pt>
              </c:strCache>
            </c:strRef>
          </c:cat>
          <c:val>
            <c:numRef>
              <c:f>Sheet1!$B$2:$B$16</c:f>
              <c:numCache>
                <c:formatCode>General</c:formatCode>
                <c:ptCount val="15"/>
                <c:pt idx="0">
                  <c:v>278.07</c:v>
                </c:pt>
                <c:pt idx="1">
                  <c:v>309.4</c:v>
                </c:pt>
                <c:pt idx="2">
                  <c:v>268.09</c:v>
                </c:pt>
                <c:pt idx="3">
                  <c:v>308.6</c:v>
                </c:pt>
                <c:pt idx="4">
                  <c:v>305.0</c:v>
                </c:pt>
                <c:pt idx="5">
                  <c:v>281.45</c:v>
                </c:pt>
                <c:pt idx="6">
                  <c:v>254.7</c:v>
                </c:pt>
                <c:pt idx="7">
                  <c:v>82.86</c:v>
                </c:pt>
                <c:pt idx="8">
                  <c:v>319.23</c:v>
                </c:pt>
                <c:pt idx="9">
                  <c:v>318.18</c:v>
                </c:pt>
                <c:pt idx="10">
                  <c:v>312.31</c:v>
                </c:pt>
                <c:pt idx="11">
                  <c:v>240.15</c:v>
                </c:pt>
                <c:pt idx="12">
                  <c:v>292.13</c:v>
                </c:pt>
                <c:pt idx="13">
                  <c:v>239.97</c:v>
                </c:pt>
                <c:pt idx="14">
                  <c:v>147.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66.92</a:t>
                    </a:r>
                  </a:p>
                </c:rich>
              </c:tx>
              <c:showLegendKey val="0"/>
              <c:showVal val="1"/>
              <c:showCatName val="0"/>
              <c:showSerName val="0"/>
              <c:showPercent val="0"/>
              <c:showBubbleSize val="0"/>
            </c:dLbl>
            <c:dLbl>
              <c:idx val="2"/>
              <c:tx>
                <c:rich>
                  <a:bodyPr/>
                  <a:lstStyle/>
                  <a:p>
                    <a:r>
                      <a:t>371.44</a:t>
                    </a:r>
                  </a:p>
                </c:rich>
              </c:tx>
              <c:showLegendKey val="0"/>
              <c:showVal val="1"/>
              <c:showCatName val="0"/>
              <c:showSerName val="0"/>
              <c:showPercent val="0"/>
              <c:showBubbleSize val="0"/>
            </c:dLbl>
            <c:dLbl>
              <c:idx val="3"/>
              <c:tx>
                <c:rich>
                  <a:bodyPr/>
                  <a:lstStyle/>
                  <a:p>
                    <a:r>
                      <a:t>319.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Tanning Sunscreen Adults Cosmetics Aceite 15 - 19 240Ml</c:v>
                </c:pt>
                <c:pt idx="1">
                  <c:v>Others Fabricante Unif. Others Marca Unif. Sunscreen Adults Cosmetics Aceite 30 - 49 75Ml</c:v>
                </c:pt>
                <c:pt idx="2">
                  <c:v>Others Fabricante Unif. Others Marca Unif. Sunscreen Adults Cosmetics Spray Aceite 30 200Ml</c:v>
                </c:pt>
                <c:pt idx="3">
                  <c:v>Others Fabricante Unif. Others Marca Unif. Sunscreen Kids Cosmetics Spray Aceite 50+ 177Ml</c:v>
                </c:pt>
              </c:strCache>
            </c:strRef>
          </c:cat>
          <c:val>
            <c:numRef>
              <c:f>Sheet1!$B$2:$B$5</c:f>
              <c:numCache>
                <c:formatCode>General</c:formatCode>
                <c:ptCount val="4"/>
                <c:pt idx="0">
                  <c:v>399.0</c:v>
                </c:pt>
                <c:pt idx="1">
                  <c:v>166.92</c:v>
                </c:pt>
                <c:pt idx="2">
                  <c:v>371.44</c:v>
                </c:pt>
                <c:pt idx="3">
                  <c:v>319.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185.51</a:t>
                    </a:r>
                  </a:p>
                </c:rich>
              </c:tx>
              <c:showLegendKey val="0"/>
              <c:showVal val="1"/>
              <c:showCatName val="0"/>
              <c:showSerName val="0"/>
              <c:showPercent val="0"/>
              <c:showBubbleSize val="0"/>
            </c:dLbl>
            <c:dLbl>
              <c:idx val="2"/>
              <c:tx>
                <c:rich>
                  <a:bodyPr/>
                  <a:lstStyle/>
                  <a:p>
                    <a:r>
                      <a:t>209.16</a:t>
                    </a:r>
                  </a:p>
                </c:rich>
              </c:tx>
              <c:showLegendKey val="0"/>
              <c:showVal val="1"/>
              <c:showCatName val="0"/>
              <c:showSerName val="0"/>
              <c:showPercent val="0"/>
              <c:showBubbleSize val="0"/>
            </c:dLbl>
            <c:dLbl>
              <c:idx val="3"/>
              <c:tx>
                <c:rich>
                  <a:bodyPr/>
                  <a:lstStyle/>
                  <a:p>
                    <a:r>
                      <a:t>222.13</a:t>
                    </a:r>
                  </a:p>
                </c:rich>
              </c:tx>
              <c:showLegendKey val="0"/>
              <c:showVal val="1"/>
              <c:showCatName val="0"/>
              <c:showSerName val="0"/>
              <c:showPercent val="0"/>
              <c:showBubbleSize val="0"/>
            </c:dLbl>
            <c:dLbl>
              <c:idx val="4"/>
              <c:tx>
                <c:rich>
                  <a:bodyPr/>
                  <a:lstStyle/>
                  <a:p>
                    <a:r>
                      <a:t>224.15</a:t>
                    </a:r>
                  </a:p>
                </c:rich>
              </c:tx>
              <c:showLegendKey val="0"/>
              <c:showVal val="1"/>
              <c:showCatName val="0"/>
              <c:showSerName val="0"/>
              <c:showPercent val="0"/>
              <c:showBubbleSize val="0"/>
            </c:dLbl>
            <c:dLbl>
              <c:idx val="5"/>
              <c:tx>
                <c:rich>
                  <a:bodyPr/>
                  <a:lstStyle/>
                  <a:p>
                    <a:r>
                      <a:t>226.56</a:t>
                    </a:r>
                  </a:p>
                </c:rich>
              </c:tx>
              <c:showLegendKey val="0"/>
              <c:showVal val="1"/>
              <c:showCatName val="0"/>
              <c:showSerName val="0"/>
              <c:showPercent val="0"/>
              <c:showBubbleSize val="0"/>
            </c:dLbl>
            <c:dLbl>
              <c:idx val="6"/>
              <c:tx>
                <c:rich>
                  <a:bodyPr/>
                  <a:lstStyle/>
                  <a:p>
                    <a:r>
                      <a:t>315.86</a:t>
                    </a:r>
                  </a:p>
                </c:rich>
              </c:tx>
              <c:showLegendKey val="0"/>
              <c:showVal val="1"/>
              <c:showCatName val="0"/>
              <c:showSerName val="0"/>
              <c:showPercent val="0"/>
              <c:showBubbleSize val="0"/>
            </c:dLbl>
            <c:dLbl>
              <c:idx val="7"/>
              <c:tx>
                <c:rich>
                  <a:bodyPr/>
                  <a:lstStyle/>
                  <a:p>
                    <a:r>
                      <a:t>365.11</a:t>
                    </a:r>
                  </a:p>
                </c:rich>
              </c:tx>
              <c:showLegendKey val="0"/>
              <c:showVal val="1"/>
              <c:showCatName val="0"/>
              <c:showSerName val="0"/>
              <c:showPercent val="0"/>
              <c:showBubbleSize val="0"/>
            </c:dLbl>
            <c:dLbl>
              <c:idx val="8"/>
              <c:tx>
                <c:rich>
                  <a:bodyPr/>
                  <a:lstStyle/>
                  <a:p>
                    <a:r>
                      <a:t>308.98</a:t>
                    </a:r>
                  </a:p>
                </c:rich>
              </c:tx>
              <c:showLegendKey val="0"/>
              <c:showVal val="1"/>
              <c:showCatName val="0"/>
              <c:showSerName val="0"/>
              <c:showPercent val="0"/>
              <c:showBubbleSize val="0"/>
            </c:dLbl>
            <c:dLbl>
              <c:idx val="9"/>
              <c:tx>
                <c:rich>
                  <a:bodyPr/>
                  <a:lstStyle/>
                  <a:p>
                    <a:r>
                      <a:t>327.02</a:t>
                    </a:r>
                  </a:p>
                </c:rich>
              </c:tx>
              <c:showLegendKey val="0"/>
              <c:showVal val="1"/>
              <c:showCatName val="0"/>
              <c:showSerName val="0"/>
              <c:showPercent val="0"/>
              <c:showBubbleSize val="0"/>
            </c:dLbl>
            <c:dLbl>
              <c:idx val="10"/>
              <c:tx>
                <c:rich>
                  <a:bodyPr/>
                  <a:lstStyle/>
                  <a:p>
                    <a:r>
                      <a:t>411.94</a:t>
                    </a:r>
                  </a:p>
                </c:rich>
              </c:tx>
              <c:showLegendKey val="0"/>
              <c:showVal val="1"/>
              <c:showCatName val="0"/>
              <c:showSerName val="0"/>
              <c:showPercent val="0"/>
              <c:showBubbleSize val="0"/>
            </c:dLbl>
            <c:dLbl>
              <c:idx val="11"/>
              <c:tx>
                <c:rich>
                  <a:bodyPr/>
                  <a:lstStyle/>
                  <a:p>
                    <a:r>
                      <a:t>215.4</a:t>
                    </a:r>
                  </a:p>
                </c:rich>
              </c:tx>
              <c:showLegendKey val="0"/>
              <c:showVal val="1"/>
              <c:showCatName val="0"/>
              <c:showSerName val="0"/>
              <c:showPercent val="0"/>
              <c:showBubbleSize val="0"/>
            </c:dLbl>
            <c:dLbl>
              <c:idx val="12"/>
              <c:tx>
                <c:rich>
                  <a:bodyPr/>
                  <a:lstStyle/>
                  <a:p>
                    <a:r>
                      <a:t>104.31</a:t>
                    </a:r>
                  </a:p>
                </c:rich>
              </c:tx>
              <c:showLegendKey val="0"/>
              <c:showVal val="1"/>
              <c:showCatName val="0"/>
              <c:showSerName val="0"/>
              <c:showPercent val="0"/>
              <c:showBubbleSize val="0"/>
            </c:dLbl>
            <c:dLbl>
              <c:idx val="13"/>
              <c:tx>
                <c:rich>
                  <a:bodyPr/>
                  <a:lstStyle/>
                  <a:p>
                    <a:r>
                      <a:t>215.16</a:t>
                    </a:r>
                  </a:p>
                </c:rich>
              </c:tx>
              <c:showLegendKey val="0"/>
              <c:showVal val="1"/>
              <c:showCatName val="0"/>
              <c:showSerName val="0"/>
              <c:showPercent val="0"/>
              <c:showBubbleSize val="0"/>
            </c:dLbl>
            <c:dLbl>
              <c:idx val="14"/>
              <c:tx>
                <c:rich>
                  <a:bodyPr/>
                  <a:lstStyle/>
                  <a:p>
                    <a:r>
                      <a:t>338.09</a:t>
                    </a:r>
                  </a:p>
                </c:rich>
              </c:tx>
              <c:showLegendKey val="0"/>
              <c:showVal val="1"/>
              <c:showCatName val="0"/>
              <c:showSerName val="0"/>
              <c:showPercent val="0"/>
              <c:showBubbleSize val="0"/>
            </c:dLbl>
            <c:dLbl>
              <c:idx val="15"/>
              <c:tx>
                <c:rich>
                  <a:bodyPr/>
                  <a:lstStyle/>
                  <a:p>
                    <a:r>
                      <a:t>13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Hawaiian Tropic Other Sunscreen Adults Cosmetics Crema 50+ 240Ml</c:v>
                </c:pt>
                <c:pt idx="1">
                  <c:v>Edgewell Hawaiian Tropic Sheer Touch Sunscreen Adults Cosmetics Crema 50 120Ml</c:v>
                </c:pt>
                <c:pt idx="2">
                  <c:v>Edgewell Hawaiian Tropic Ozono Sunscreen Adults Cosmetics Crema 50+ 120Ml</c:v>
                </c:pt>
                <c:pt idx="3">
                  <c:v>Edgewell Hawaiian Tropic Other Sunscreen Adults Cosmetics Spray Crema 50 180Ml</c:v>
                </c:pt>
                <c:pt idx="4">
                  <c:v>Edgewell Hawaiian Tropic Baby Sunscreen Baby Cosmetics Crema 50+ 240Ml</c:v>
                </c:pt>
                <c:pt idx="5">
                  <c:v>L'Oreal Garnier Sunscreen Adults Cosmetics Crema 50+ 40Ml</c:v>
                </c:pt>
                <c:pt idx="6">
                  <c:v>Beiersdorf Nivea Sunscreen Adults Cosmetics Crema 50 50Ml</c:v>
                </c:pt>
                <c:pt idx="7">
                  <c:v>Beiersdorf Nivea Sunscreen Adults Cosmetics Crema 50+ 200Ml</c:v>
                </c:pt>
                <c:pt idx="8">
                  <c:v>Beiersdorf Nivea Sunscreen Adults Cosmetics Crema 50+ 40Ml</c:v>
                </c:pt>
                <c:pt idx="9">
                  <c:v>Beiersdorf Nivea Sunscreen Adults Cosmetics Crema 50+ 50Ml</c:v>
                </c:pt>
                <c:pt idx="10">
                  <c:v>Beiersdorf Nivea Sunscreen Adults Cosmetics Crema 30 - 49 200Ml</c:v>
                </c:pt>
                <c:pt idx="11">
                  <c:v>Others Fabricante Unif. Others Marca Unif. Sunscreen Adults Cosmetics Crema 50+ 200Ml</c:v>
                </c:pt>
                <c:pt idx="12">
                  <c:v>Others Fabricante Unif. Others Marca Unif. Sunscreen Adults Cosmetics Crema 50+ 90Ml</c:v>
                </c:pt>
                <c:pt idx="13">
                  <c:v>Others Fabricante Unif. Others Marca Unif. Sunscreen Kids Cosmetics Crema 50+ 200Ml</c:v>
                </c:pt>
                <c:pt idx="14">
                  <c:v>Others Fabricante Unif. Others Marca Unif. Sunscreen Adults Cosmetics Crema 50+ 50Ml</c:v>
                </c:pt>
                <c:pt idx="15">
                  <c:v>Others Fabricante Unif. Others Marca Unif. Sunscreen Adults Cosmetics Crema 50+ 125Ml</c:v>
                </c:pt>
              </c:strCache>
            </c:strRef>
          </c:cat>
          <c:val>
            <c:numRef>
              <c:f>Sheet1!$B$2:$B$17</c:f>
              <c:numCache>
                <c:formatCode>General</c:formatCode>
                <c:ptCount val="16"/>
                <c:pt idx="0">
                  <c:v>305.33</c:v>
                </c:pt>
                <c:pt idx="1">
                  <c:v>185.51</c:v>
                </c:pt>
                <c:pt idx="2">
                  <c:v>209.16</c:v>
                </c:pt>
                <c:pt idx="3">
                  <c:v>222.13</c:v>
                </c:pt>
                <c:pt idx="4">
                  <c:v>224.15</c:v>
                </c:pt>
                <c:pt idx="5">
                  <c:v>226.56</c:v>
                </c:pt>
                <c:pt idx="6">
                  <c:v>315.86</c:v>
                </c:pt>
                <c:pt idx="7">
                  <c:v>365.11</c:v>
                </c:pt>
                <c:pt idx="8">
                  <c:v>308.98</c:v>
                </c:pt>
                <c:pt idx="9">
                  <c:v>327.02</c:v>
                </c:pt>
                <c:pt idx="10">
                  <c:v>411.94</c:v>
                </c:pt>
                <c:pt idx="11">
                  <c:v>215.4</c:v>
                </c:pt>
                <c:pt idx="12">
                  <c:v>104.31</c:v>
                </c:pt>
                <c:pt idx="13">
                  <c:v>215.16</c:v>
                </c:pt>
                <c:pt idx="14">
                  <c:v>338.09</c:v>
                </c:pt>
                <c:pt idx="15">
                  <c:v>13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48</a:t>
                    </a:r>
                  </a:p>
                </c:rich>
              </c:tx>
              <c:showLegendKey val="0"/>
              <c:showVal val="1"/>
              <c:showCatName val="0"/>
              <c:showSerName val="0"/>
              <c:showPercent val="0"/>
              <c:showBubbleSize val="0"/>
            </c:dLbl>
            <c:dLbl>
              <c:idx val="1"/>
              <c:tx>
                <c:rich>
                  <a:bodyPr/>
                  <a:lstStyle/>
                  <a:p>
                    <a:r>
                      <a:t>341.27</a:t>
                    </a:r>
                  </a:p>
                </c:rich>
              </c:tx>
              <c:showLegendKey val="0"/>
              <c:showVal val="1"/>
              <c:showCatName val="0"/>
              <c:showSerName val="0"/>
              <c:showPercent val="0"/>
              <c:showBubbleSize val="0"/>
            </c:dLbl>
            <c:dLbl>
              <c:idx val="2"/>
              <c:tx>
                <c:rich>
                  <a:bodyPr/>
                  <a:lstStyle/>
                  <a:p>
                    <a:r>
                      <a:t>330.0</a:t>
                    </a:r>
                  </a:p>
                </c:rich>
              </c:tx>
              <c:showLegendKey val="0"/>
              <c:showVal val="1"/>
              <c:showCatName val="0"/>
              <c:showSerName val="0"/>
              <c:showPercent val="0"/>
              <c:showBubbleSize val="0"/>
            </c:dLbl>
            <c:dLbl>
              <c:idx val="3"/>
              <c:tx>
                <c:rich>
                  <a:bodyPr/>
                  <a:lstStyle/>
                  <a:p>
                    <a:r>
                      <a:t>302.81</a:t>
                    </a:r>
                  </a:p>
                </c:rich>
              </c:tx>
              <c:showLegendKey val="0"/>
              <c:showVal val="1"/>
              <c:showCatName val="0"/>
              <c:showSerName val="0"/>
              <c:showPercent val="0"/>
              <c:showBubbleSize val="0"/>
            </c:dLbl>
            <c:dLbl>
              <c:idx val="4"/>
              <c:tx>
                <c:rich>
                  <a:bodyPr/>
                  <a:lstStyle/>
                  <a:p>
                    <a:r>
                      <a:t>272.27</a:t>
                    </a:r>
                  </a:p>
                </c:rich>
              </c:tx>
              <c:showLegendKey val="0"/>
              <c:showVal val="1"/>
              <c:showCatName val="0"/>
              <c:showSerName val="0"/>
              <c:showPercent val="0"/>
              <c:showBubbleSize val="0"/>
            </c:dLbl>
            <c:dLbl>
              <c:idx val="5"/>
              <c:tx>
                <c:rich>
                  <a:bodyPr/>
                  <a:lstStyle/>
                  <a:p>
                    <a:r>
                      <a:t>226.56</a:t>
                    </a:r>
                  </a:p>
                </c:rich>
              </c:tx>
              <c:showLegendKey val="0"/>
              <c:showVal val="1"/>
              <c:showCatName val="0"/>
              <c:showSerName val="0"/>
              <c:showPercent val="0"/>
              <c:showBubbleSize val="0"/>
            </c:dLbl>
            <c:dLbl>
              <c:idx val="6"/>
              <c:tx>
                <c:rich>
                  <a:bodyPr/>
                  <a:lstStyle/>
                  <a:p>
                    <a:r>
                      <a:t>315.86</a:t>
                    </a:r>
                  </a:p>
                </c:rich>
              </c:tx>
              <c:showLegendKey val="0"/>
              <c:showVal val="1"/>
              <c:showCatName val="0"/>
              <c:showSerName val="0"/>
              <c:showPercent val="0"/>
              <c:showBubbleSize val="0"/>
            </c:dLbl>
            <c:dLbl>
              <c:idx val="7"/>
              <c:tx>
                <c:rich>
                  <a:bodyPr/>
                  <a:lstStyle/>
                  <a:p>
                    <a:r>
                      <a:t>365.11</a:t>
                    </a:r>
                  </a:p>
                </c:rich>
              </c:tx>
              <c:showLegendKey val="0"/>
              <c:showVal val="1"/>
              <c:showCatName val="0"/>
              <c:showSerName val="0"/>
              <c:showPercent val="0"/>
              <c:showBubbleSize val="0"/>
            </c:dLbl>
            <c:dLbl>
              <c:idx val="8"/>
              <c:tx>
                <c:rich>
                  <a:bodyPr/>
                  <a:lstStyle/>
                  <a:p>
                    <a:r>
                      <a:t>308.98</a:t>
                    </a:r>
                  </a:p>
                </c:rich>
              </c:tx>
              <c:showLegendKey val="0"/>
              <c:showVal val="1"/>
              <c:showCatName val="0"/>
              <c:showSerName val="0"/>
              <c:showPercent val="0"/>
              <c:showBubbleSize val="0"/>
            </c:dLbl>
            <c:dLbl>
              <c:idx val="9"/>
              <c:tx>
                <c:rich>
                  <a:bodyPr/>
                  <a:lstStyle/>
                  <a:p>
                    <a:r>
                      <a:t>327.02</a:t>
                    </a:r>
                  </a:p>
                </c:rich>
              </c:tx>
              <c:showLegendKey val="0"/>
              <c:showVal val="1"/>
              <c:showCatName val="0"/>
              <c:showSerName val="0"/>
              <c:showPercent val="0"/>
              <c:showBubbleSize val="0"/>
            </c:dLbl>
            <c:dLbl>
              <c:idx val="10"/>
              <c:tx>
                <c:rich>
                  <a:bodyPr/>
                  <a:lstStyle/>
                  <a:p>
                    <a:r>
                      <a:t>411.94</a:t>
                    </a:r>
                  </a:p>
                </c:rich>
              </c:tx>
              <c:showLegendKey val="0"/>
              <c:showVal val="1"/>
              <c:showCatName val="0"/>
              <c:showSerName val="0"/>
              <c:showPercent val="0"/>
              <c:showBubbleSize val="0"/>
            </c:dLbl>
            <c:dLbl>
              <c:idx val="11"/>
              <c:tx>
                <c:rich>
                  <a:bodyPr/>
                  <a:lstStyle/>
                  <a:p>
                    <a:r>
                      <a:t>215.4</a:t>
                    </a:r>
                  </a:p>
                </c:rich>
              </c:tx>
              <c:showLegendKey val="0"/>
              <c:showVal val="1"/>
              <c:showCatName val="0"/>
              <c:showSerName val="0"/>
              <c:showPercent val="0"/>
              <c:showBubbleSize val="0"/>
            </c:dLbl>
            <c:dLbl>
              <c:idx val="12"/>
              <c:tx>
                <c:rich>
                  <a:bodyPr/>
                  <a:lstStyle/>
                  <a:p>
                    <a:r>
                      <a:t>104.31</a:t>
                    </a:r>
                  </a:p>
                </c:rich>
              </c:tx>
              <c:showLegendKey val="0"/>
              <c:showVal val="1"/>
              <c:showCatName val="0"/>
              <c:showSerName val="0"/>
              <c:showPercent val="0"/>
              <c:showBubbleSize val="0"/>
            </c:dLbl>
            <c:dLbl>
              <c:idx val="13"/>
              <c:tx>
                <c:rich>
                  <a:bodyPr/>
                  <a:lstStyle/>
                  <a:p>
                    <a:r>
                      <a:t>215.16</a:t>
                    </a:r>
                  </a:p>
                </c:rich>
              </c:tx>
              <c:showLegendKey val="0"/>
              <c:showVal val="1"/>
              <c:showCatName val="0"/>
              <c:showSerName val="0"/>
              <c:showPercent val="0"/>
              <c:showBubbleSize val="0"/>
            </c:dLbl>
            <c:dLbl>
              <c:idx val="14"/>
              <c:tx>
                <c:rich>
                  <a:bodyPr/>
                  <a:lstStyle/>
                  <a:p>
                    <a:r>
                      <a:t>338.09</a:t>
                    </a:r>
                  </a:p>
                </c:rich>
              </c:tx>
              <c:showLegendKey val="0"/>
              <c:showVal val="1"/>
              <c:showCatName val="0"/>
              <c:showSerName val="0"/>
              <c:showPercent val="0"/>
              <c:showBubbleSize val="0"/>
            </c:dLbl>
            <c:dLbl>
              <c:idx val="15"/>
              <c:tx>
                <c:rich>
                  <a:bodyPr/>
                  <a:lstStyle/>
                  <a:p>
                    <a:r>
                      <a:t>13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Dry Balance Sunscreen Adults Cosmetics Spray Crema 50+ 220Ml</c:v>
                </c:pt>
                <c:pt idx="1">
                  <c:v>Edgewell Banana Boat Aqua Protect Sunscreen Adults Cosmetics Crema 50+ 236Ml</c:v>
                </c:pt>
                <c:pt idx="2">
                  <c:v>Edgewell Banana Boat Kids Sport Sunscreen Kids Cosmetics Crema 50 180Ml</c:v>
                </c:pt>
                <c:pt idx="3">
                  <c:v>Edgewell Banana Boat Dry Balance Sunscreen Adults Cosmetics Crema 50+ 180Ml</c:v>
                </c:pt>
                <c:pt idx="4">
                  <c:v>Edgewell Banana Boat Bloqueador Sunscreen Adults Cosmetics Crema 50 236Ml</c:v>
                </c:pt>
                <c:pt idx="5">
                  <c:v>L'Oreal Garnier Sunscreen Adults Cosmetics Crema 50+ 40Ml</c:v>
                </c:pt>
                <c:pt idx="6">
                  <c:v>Beiersdorf Nivea Sunscreen Adults Cosmetics Crema 50 50Ml</c:v>
                </c:pt>
                <c:pt idx="7">
                  <c:v>Beiersdorf Nivea Sunscreen Adults Cosmetics Crema 50+ 200Ml</c:v>
                </c:pt>
                <c:pt idx="8">
                  <c:v>Beiersdorf Nivea Sunscreen Adults Cosmetics Crema 50+ 40Ml</c:v>
                </c:pt>
                <c:pt idx="9">
                  <c:v>Beiersdorf Nivea Sunscreen Adults Cosmetics Crema 50+ 50Ml</c:v>
                </c:pt>
                <c:pt idx="10">
                  <c:v>Beiersdorf Nivea Sunscreen Adults Cosmetics Crema 30 - 49 200Ml</c:v>
                </c:pt>
                <c:pt idx="11">
                  <c:v>Others Fabricante Unif. Others Marca Unif. Sunscreen Adults Cosmetics Crema 50+ 200Ml</c:v>
                </c:pt>
                <c:pt idx="12">
                  <c:v>Others Fabricante Unif. Others Marca Unif. Sunscreen Adults Cosmetics Crema 50+ 90Ml</c:v>
                </c:pt>
                <c:pt idx="13">
                  <c:v>Others Fabricante Unif. Others Marca Unif. Sunscreen Kids Cosmetics Crema 50+ 200Ml</c:v>
                </c:pt>
                <c:pt idx="14">
                  <c:v>Others Fabricante Unif. Others Marca Unif. Sunscreen Adults Cosmetics Crema 50+ 50Ml</c:v>
                </c:pt>
                <c:pt idx="15">
                  <c:v>Others Fabricante Unif. Others Marca Unif. Sunscreen Adults Cosmetics Crema 50+ 125Ml</c:v>
                </c:pt>
              </c:strCache>
            </c:strRef>
          </c:cat>
          <c:val>
            <c:numRef>
              <c:f>Sheet1!$B$2:$B$17</c:f>
              <c:numCache>
                <c:formatCode>General</c:formatCode>
                <c:ptCount val="16"/>
                <c:pt idx="0">
                  <c:v>270.48</c:v>
                </c:pt>
                <c:pt idx="1">
                  <c:v>341.27</c:v>
                </c:pt>
                <c:pt idx="2">
                  <c:v>330.0</c:v>
                </c:pt>
                <c:pt idx="3">
                  <c:v>302.81</c:v>
                </c:pt>
                <c:pt idx="4">
                  <c:v>272.27</c:v>
                </c:pt>
                <c:pt idx="5">
                  <c:v>226.56</c:v>
                </c:pt>
                <c:pt idx="6">
                  <c:v>315.86</c:v>
                </c:pt>
                <c:pt idx="7">
                  <c:v>365.11</c:v>
                </c:pt>
                <c:pt idx="8">
                  <c:v>308.98</c:v>
                </c:pt>
                <c:pt idx="9">
                  <c:v>327.02</c:v>
                </c:pt>
                <c:pt idx="10">
                  <c:v>411.94</c:v>
                </c:pt>
                <c:pt idx="11">
                  <c:v>215.4</c:v>
                </c:pt>
                <c:pt idx="12">
                  <c:v>104.31</c:v>
                </c:pt>
                <c:pt idx="13">
                  <c:v>215.16</c:v>
                </c:pt>
                <c:pt idx="14">
                  <c:v>338.09</c:v>
                </c:pt>
                <c:pt idx="15">
                  <c:v>13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58</a:t>
                    </a:r>
                  </a:p>
                </c:rich>
              </c:tx>
              <c:showLegendKey val="0"/>
              <c:showVal val="1"/>
              <c:showCatName val="0"/>
              <c:showSerName val="0"/>
              <c:showPercent val="0"/>
              <c:showBubbleSize val="0"/>
            </c:dLbl>
            <c:dLbl>
              <c:idx val="1"/>
              <c:tx>
                <c:rich>
                  <a:bodyPr/>
                  <a:lstStyle/>
                  <a:p>
                    <a:r>
                      <a:t>33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dvanced Protection Sunscreen Adults Cosmetics Fluido 50+ 50Ml</c:v>
                </c:pt>
                <c:pt idx="1">
                  <c:v>Beiersdorf Nivea Sunscreen Adults Cosmetics Fluido 50+ 40Ml</c:v>
                </c:pt>
              </c:strCache>
            </c:strRef>
          </c:cat>
          <c:val>
            <c:numRef>
              <c:f>Sheet1!$B$2:$B$3</c:f>
              <c:numCache>
                <c:formatCode>General</c:formatCode>
                <c:ptCount val="2"/>
                <c:pt idx="0">
                  <c:v>322.58</c:v>
                </c:pt>
                <c:pt idx="1">
                  <c:v>33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showLegendKey val="0"/>
              <c:showVal val="1"/>
              <c:showCatName val="0"/>
              <c:showSerName val="0"/>
              <c:showPercent val="0"/>
              <c:showBubbleSize val="0"/>
            </c:dLbl>
            <c:dLbl>
              <c:idx val="1"/>
              <c:tx>
                <c:rich>
                  <a:bodyPr/>
                  <a:lstStyle/>
                  <a:p>
                    <a:r>
                      <a:t>325.31</a:t>
                    </a:r>
                  </a:p>
                </c:rich>
              </c:tx>
              <c:showLegendKey val="0"/>
              <c:showVal val="1"/>
              <c:showCatName val="0"/>
              <c:showSerName val="0"/>
              <c:showPercent val="0"/>
              <c:showBubbleSize val="0"/>
            </c:dLbl>
            <c:dLbl>
              <c:idx val="2"/>
              <c:tx>
                <c:rich>
                  <a:bodyPr/>
                  <a:lstStyle/>
                  <a:p>
                    <a:r>
                      <a:t>313.71</a:t>
                    </a:r>
                  </a:p>
                </c:rich>
              </c:tx>
              <c:showLegendKey val="0"/>
              <c:showVal val="1"/>
              <c:showCatName val="0"/>
              <c:showSerName val="0"/>
              <c:showPercent val="0"/>
              <c:showBubbleSize val="0"/>
            </c:dLbl>
            <c:dLbl>
              <c:idx val="3"/>
              <c:tx>
                <c:rich>
                  <a:bodyPr/>
                  <a:lstStyle/>
                  <a:p>
                    <a:r>
                      <a:t>97.58</a:t>
                    </a:r>
                  </a:p>
                </c:rich>
              </c:tx>
              <c:showLegendKey val="0"/>
              <c:showVal val="1"/>
              <c:showCatName val="0"/>
              <c:showSerName val="0"/>
              <c:showPercent val="0"/>
              <c:showBubbleSize val="0"/>
            </c:dLbl>
            <c:dLbl>
              <c:idx val="4"/>
              <c:tx>
                <c:rich>
                  <a:bodyPr/>
                  <a:lstStyle/>
                  <a:p>
                    <a:r>
                      <a:t>397.68</a:t>
                    </a:r>
                  </a:p>
                </c:rich>
              </c:tx>
              <c:showLegendKey val="0"/>
              <c:showVal val="1"/>
              <c:showCatName val="0"/>
              <c:showSerName val="0"/>
              <c:showPercent val="0"/>
              <c:showBubbleSize val="0"/>
            </c:dLbl>
            <c:dLbl>
              <c:idx val="5"/>
              <c:tx>
                <c:rich>
                  <a:bodyPr/>
                  <a:lstStyle/>
                  <a:p>
                    <a:r>
                      <a:t>350.73</a:t>
                    </a:r>
                  </a:p>
                </c:rich>
              </c:tx>
              <c:showLegendKey val="0"/>
              <c:showVal val="1"/>
              <c:showCatName val="0"/>
              <c:showSerName val="0"/>
              <c:showPercent val="0"/>
              <c:showBubbleSize val="0"/>
            </c:dLbl>
            <c:dLbl>
              <c:idx val="6"/>
              <c:tx>
                <c:rich>
                  <a:bodyPr/>
                  <a:lstStyle/>
                  <a:p>
                    <a:r>
                      <a:t>188.74</a:t>
                    </a:r>
                  </a:p>
                </c:rich>
              </c:tx>
              <c:showLegendKey val="0"/>
              <c:showVal val="1"/>
              <c:showCatName val="0"/>
              <c:showSerName val="0"/>
              <c:showPercent val="0"/>
              <c:showBubbleSize val="0"/>
            </c:dLbl>
            <c:dLbl>
              <c:idx val="7"/>
              <c:tx>
                <c:rich>
                  <a:bodyPr/>
                  <a:lstStyle/>
                  <a:p>
                    <a:r>
                      <a:t>342.7</a:t>
                    </a:r>
                  </a:p>
                </c:rich>
              </c:tx>
              <c:showLegendKey val="0"/>
              <c:showVal val="1"/>
              <c:showCatName val="0"/>
              <c:showSerName val="0"/>
              <c:showPercent val="0"/>
              <c:showBubbleSize val="0"/>
            </c:dLbl>
            <c:dLbl>
              <c:idx val="8"/>
              <c:tx>
                <c:rich>
                  <a:bodyPr/>
                  <a:lstStyle/>
                  <a:p>
                    <a:r>
                      <a:t>401.63</a:t>
                    </a:r>
                  </a:p>
                </c:rich>
              </c:tx>
              <c:showLegendKey val="0"/>
              <c:showVal val="1"/>
              <c:showCatName val="0"/>
              <c:showSerName val="0"/>
              <c:showPercent val="0"/>
              <c:showBubbleSize val="0"/>
            </c:dLbl>
            <c:dLbl>
              <c:idx val="9"/>
              <c:tx>
                <c:rich>
                  <a:bodyPr/>
                  <a:lstStyle/>
                  <a:p>
                    <a:r>
                      <a:t>168.48</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6.15</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Liquido 50+ 240Ml</c:v>
                </c:pt>
                <c:pt idx="1">
                  <c:v>Edgewell Hawaiian Tropic Ozono Sunscreen Adults Cosmetics Spray Liquido 50+ 180Ml</c:v>
                </c:pt>
                <c:pt idx="2">
                  <c:v>Edgewell Hawaiian Tropic Tanning Sunscreen Adults Cosmetics Spray Liquido 15 - 19 220Ml</c:v>
                </c:pt>
                <c:pt idx="3">
                  <c:v>Edgewell Hawaiian Tropic Sheer Touch Sunscreen Adults Cosmetics Liquido 30 - 49 60Ml</c:v>
                </c:pt>
                <c:pt idx="4">
                  <c:v>Edgewell Hawaiian Tropic Silk Hydration Sunscreen Adults Cosmetics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Spray Liquido 50 200Ml</c:v>
                </c:pt>
                <c:pt idx="9">
                  <c:v>Beiersdorf Nivea Sunscreen Kids Cosmetics Liquido 50+ 125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strCache>
            </c:strRef>
          </c:cat>
          <c:val>
            <c:numRef>
              <c:f>Sheet1!$B$2:$B$15</c:f>
              <c:numCache>
                <c:formatCode>General</c:formatCode>
                <c:ptCount val="14"/>
                <c:pt idx="0">
                  <c:v>318.53</c:v>
                </c:pt>
                <c:pt idx="1">
                  <c:v>325.31</c:v>
                </c:pt>
                <c:pt idx="2">
                  <c:v>313.71</c:v>
                </c:pt>
                <c:pt idx="3">
                  <c:v>97.58</c:v>
                </c:pt>
                <c:pt idx="4">
                  <c:v>397.68</c:v>
                </c:pt>
                <c:pt idx="5">
                  <c:v>350.73</c:v>
                </c:pt>
                <c:pt idx="6">
                  <c:v>188.74</c:v>
                </c:pt>
                <c:pt idx="7">
                  <c:v>342.7</c:v>
                </c:pt>
                <c:pt idx="8">
                  <c:v>401.63</c:v>
                </c:pt>
                <c:pt idx="9">
                  <c:v>168.48</c:v>
                </c:pt>
                <c:pt idx="10">
                  <c:v>1206.0</c:v>
                </c:pt>
                <c:pt idx="11">
                  <c:v>286.15</c:v>
                </c:pt>
                <c:pt idx="12">
                  <c:v>739.0</c:v>
                </c:pt>
                <c:pt idx="13">
                  <c:v>25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9.06</a:t>
                    </a:r>
                  </a:p>
                </c:rich>
              </c:tx>
              <c:showLegendKey val="0"/>
              <c:showVal val="1"/>
              <c:showCatName val="0"/>
              <c:showSerName val="0"/>
              <c:showPercent val="0"/>
              <c:showBubbleSize val="0"/>
            </c:dLbl>
            <c:dLbl>
              <c:idx val="1"/>
              <c:tx>
                <c:rich>
                  <a:bodyPr/>
                  <a:lstStyle/>
                  <a:p>
                    <a:r>
                      <a:t>330.54</a:t>
                    </a:r>
                  </a:p>
                </c:rich>
              </c:tx>
              <c:showLegendKey val="0"/>
              <c:showVal val="1"/>
              <c:showCatName val="0"/>
              <c:showSerName val="0"/>
              <c:showPercent val="0"/>
              <c:showBubbleSize val="0"/>
            </c:dLbl>
            <c:dLbl>
              <c:idx val="2"/>
              <c:tx>
                <c:rich>
                  <a:bodyPr/>
                  <a:lstStyle/>
                  <a:p>
                    <a:r>
                      <a:t>91.75</a:t>
                    </a:r>
                  </a:p>
                </c:rich>
              </c:tx>
              <c:showLegendKey val="0"/>
              <c:showVal val="1"/>
              <c:showCatName val="0"/>
              <c:showSerName val="0"/>
              <c:showPercent val="0"/>
              <c:showBubbleSize val="0"/>
            </c:dLbl>
            <c:dLbl>
              <c:idx val="3"/>
              <c:tx>
                <c:rich>
                  <a:bodyPr/>
                  <a:lstStyle/>
                  <a:p>
                    <a:r>
                      <a:t>259.12</a:t>
                    </a:r>
                  </a:p>
                </c:rich>
              </c:tx>
              <c:showLegendKey val="0"/>
              <c:showVal val="1"/>
              <c:showCatName val="0"/>
              <c:showSerName val="0"/>
              <c:showPercent val="0"/>
              <c:showBubbleSize val="0"/>
            </c:dLbl>
            <c:dLbl>
              <c:idx val="4"/>
              <c:tx>
                <c:rich>
                  <a:bodyPr/>
                  <a:lstStyle/>
                  <a:p>
                    <a:r>
                      <a:t>303.82</a:t>
                    </a:r>
                  </a:p>
                </c:rich>
              </c:tx>
              <c:showLegendKey val="0"/>
              <c:showVal val="1"/>
              <c:showCatName val="0"/>
              <c:showSerName val="0"/>
              <c:showPercent val="0"/>
              <c:showBubbleSize val="0"/>
            </c:dLbl>
            <c:dLbl>
              <c:idx val="5"/>
              <c:tx>
                <c:rich>
                  <a:bodyPr/>
                  <a:lstStyle/>
                  <a:p>
                    <a:r>
                      <a:t>350.73</a:t>
                    </a:r>
                  </a:p>
                </c:rich>
              </c:tx>
              <c:showLegendKey val="0"/>
              <c:showVal val="1"/>
              <c:showCatName val="0"/>
              <c:showSerName val="0"/>
              <c:showPercent val="0"/>
              <c:showBubbleSize val="0"/>
            </c:dLbl>
            <c:dLbl>
              <c:idx val="6"/>
              <c:tx>
                <c:rich>
                  <a:bodyPr/>
                  <a:lstStyle/>
                  <a:p>
                    <a:r>
                      <a:t>188.74</a:t>
                    </a:r>
                  </a:p>
                </c:rich>
              </c:tx>
              <c:showLegendKey val="0"/>
              <c:showVal val="1"/>
              <c:showCatName val="0"/>
              <c:showSerName val="0"/>
              <c:showPercent val="0"/>
              <c:showBubbleSize val="0"/>
            </c:dLbl>
            <c:dLbl>
              <c:idx val="7"/>
              <c:tx>
                <c:rich>
                  <a:bodyPr/>
                  <a:lstStyle/>
                  <a:p>
                    <a:r>
                      <a:t>342.7</a:t>
                    </a:r>
                  </a:p>
                </c:rich>
              </c:tx>
              <c:showLegendKey val="0"/>
              <c:showVal val="1"/>
              <c:showCatName val="0"/>
              <c:showSerName val="0"/>
              <c:showPercent val="0"/>
              <c:showBubbleSize val="0"/>
            </c:dLbl>
            <c:dLbl>
              <c:idx val="8"/>
              <c:tx>
                <c:rich>
                  <a:bodyPr/>
                  <a:lstStyle/>
                  <a:p>
                    <a:r>
                      <a:t>401.63</a:t>
                    </a:r>
                  </a:p>
                </c:rich>
              </c:tx>
              <c:showLegendKey val="0"/>
              <c:showVal val="1"/>
              <c:showCatName val="0"/>
              <c:showSerName val="0"/>
              <c:showPercent val="0"/>
              <c:showBubbleSize val="0"/>
            </c:dLbl>
            <c:dLbl>
              <c:idx val="9"/>
              <c:tx>
                <c:rich>
                  <a:bodyPr/>
                  <a:lstStyle/>
                  <a:p>
                    <a:r>
                      <a:t>168.48</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6.15</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Cosmetics Spray Liquido 50+ 170Ml</c:v>
                </c:pt>
                <c:pt idx="1">
                  <c:v>Edgewell Banana Boat Advanced Protection Sunscreen Adults Cosmetics Liquido 50+ 240Ml</c:v>
                </c:pt>
                <c:pt idx="2">
                  <c:v>Edgewell Banana Boat Advanced Protection Sunscreen Adults Cosmetics Liquido 50+ 60Ml</c:v>
                </c:pt>
                <c:pt idx="3">
                  <c:v>Edgewell Banana Boat Advanced Protection Sunscreen Adults Cosmetics Liquido 50 180Ml</c:v>
                </c:pt>
                <c:pt idx="4">
                  <c:v>Edgewell Banana Boat Gentle Protect Sunscreen Kids Cosmetics Spray Liquido 50+ 17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Spray Liquido 50 200Ml</c:v>
                </c:pt>
                <c:pt idx="9">
                  <c:v>Beiersdorf Nivea Sunscreen Kids Cosmetics Liquido 50+ 125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strCache>
            </c:strRef>
          </c:cat>
          <c:val>
            <c:numRef>
              <c:f>Sheet1!$B$2:$B$15</c:f>
              <c:numCache>
                <c:formatCode>General</c:formatCode>
                <c:ptCount val="14"/>
                <c:pt idx="0">
                  <c:v>339.06</c:v>
                </c:pt>
                <c:pt idx="1">
                  <c:v>330.54</c:v>
                </c:pt>
                <c:pt idx="2">
                  <c:v>91.75</c:v>
                </c:pt>
                <c:pt idx="3">
                  <c:v>259.12</c:v>
                </c:pt>
                <c:pt idx="4">
                  <c:v>303.82</c:v>
                </c:pt>
                <c:pt idx="5">
                  <c:v>350.73</c:v>
                </c:pt>
                <c:pt idx="6">
                  <c:v>188.74</c:v>
                </c:pt>
                <c:pt idx="7">
                  <c:v>342.7</c:v>
                </c:pt>
                <c:pt idx="8">
                  <c:v>401.63</c:v>
                </c:pt>
                <c:pt idx="9">
                  <c:v>168.48</c:v>
                </c:pt>
                <c:pt idx="10">
                  <c:v>1206.0</c:v>
                </c:pt>
                <c:pt idx="11">
                  <c:v>286.15</c:v>
                </c:pt>
                <c:pt idx="12">
                  <c:v>739.0</c:v>
                </c:pt>
                <c:pt idx="13">
                  <c:v>25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350.73</a:t>
                    </a:r>
                  </a:p>
                </c:rich>
              </c:tx>
              <c:showLegendKey val="0"/>
              <c:showVal val="1"/>
              <c:showCatName val="0"/>
              <c:showSerName val="0"/>
              <c:showPercent val="0"/>
              <c:showBubbleSize val="0"/>
            </c:dLbl>
            <c:dLbl>
              <c:idx val="6"/>
              <c:tx>
                <c:rich>
                  <a:bodyPr/>
                  <a:lstStyle/>
                  <a:p>
                    <a:r>
                      <a:t>188.74</a:t>
                    </a:r>
                  </a:p>
                </c:rich>
              </c:tx>
              <c:showLegendKey val="0"/>
              <c:showVal val="1"/>
              <c:showCatName val="0"/>
              <c:showSerName val="0"/>
              <c:showPercent val="0"/>
              <c:showBubbleSize val="0"/>
            </c:dLbl>
            <c:dLbl>
              <c:idx val="7"/>
              <c:tx>
                <c:rich>
                  <a:bodyPr/>
                  <a:lstStyle/>
                  <a:p>
                    <a:r>
                      <a:t>342.7</a:t>
                    </a:r>
                  </a:p>
                </c:rich>
              </c:tx>
              <c:showLegendKey val="0"/>
              <c:showVal val="1"/>
              <c:showCatName val="0"/>
              <c:showSerName val="0"/>
              <c:showPercent val="0"/>
              <c:showBubbleSize val="0"/>
            </c:dLbl>
            <c:dLbl>
              <c:idx val="8"/>
              <c:tx>
                <c:rich>
                  <a:bodyPr/>
                  <a:lstStyle/>
                  <a:p>
                    <a:r>
                      <a:t>401.63</a:t>
                    </a:r>
                  </a:p>
                </c:rich>
              </c:tx>
              <c:showLegendKey val="0"/>
              <c:showVal val="1"/>
              <c:showCatName val="0"/>
              <c:showSerName val="0"/>
              <c:showPercent val="0"/>
              <c:showBubbleSize val="0"/>
            </c:dLbl>
            <c:dLbl>
              <c:idx val="9"/>
              <c:tx>
                <c:rich>
                  <a:bodyPr/>
                  <a:lstStyle/>
                  <a:p>
                    <a:r>
                      <a:t>168.48</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6.15</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Spray Liquido 50 200Ml</c:v>
                </c:pt>
                <c:pt idx="9">
                  <c:v>Beiersdorf Nivea Sunscreen Kids Cosmetics Liquido 50+ 125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strCache>
            </c:strRef>
          </c:cat>
          <c:val>
            <c:numRef>
              <c:f>Sheet1!$B$2:$B$15</c:f>
              <c:numCache>
                <c:formatCode>General</c:formatCode>
                <c:ptCount val="14"/>
                <c:pt idx="0">
                  <c:v>345.48</c:v>
                </c:pt>
                <c:pt idx="1">
                  <c:v>363.49</c:v>
                </c:pt>
                <c:pt idx="2">
                  <c:v>362.74</c:v>
                </c:pt>
                <c:pt idx="3">
                  <c:v>400.18</c:v>
                </c:pt>
                <c:pt idx="4">
                  <c:v>427.0</c:v>
                </c:pt>
                <c:pt idx="5">
                  <c:v>350.73</c:v>
                </c:pt>
                <c:pt idx="6">
                  <c:v>188.74</c:v>
                </c:pt>
                <c:pt idx="7">
                  <c:v>342.7</c:v>
                </c:pt>
                <c:pt idx="8">
                  <c:v>401.63</c:v>
                </c:pt>
                <c:pt idx="9">
                  <c:v>168.48</c:v>
                </c:pt>
                <c:pt idx="10">
                  <c:v>1206.0</c:v>
                </c:pt>
                <c:pt idx="11">
                  <c:v>286.15</c:v>
                </c:pt>
                <c:pt idx="12">
                  <c:v>739.0</c:v>
                </c:pt>
                <c:pt idx="13">
                  <c:v>25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99</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361.98</a:t>
                    </a:r>
                  </a:p>
                </c:rich>
              </c:tx>
              <c:showLegendKey val="0"/>
              <c:showVal val="1"/>
              <c:showCatName val="0"/>
              <c:showSerName val="0"/>
              <c:showPercent val="0"/>
              <c:showBubbleSize val="0"/>
            </c:dLbl>
            <c:dLbl>
              <c:idx val="3"/>
              <c:tx>
                <c:rich>
                  <a:bodyPr/>
                  <a:lstStyle/>
                  <a:p>
                    <a:r>
                      <a:t>373.77</a:t>
                    </a:r>
                  </a:p>
                </c:rich>
              </c:tx>
              <c:showLegendKey val="0"/>
              <c:showVal val="1"/>
              <c:showCatName val="0"/>
              <c:showSerName val="0"/>
              <c:showPercent val="0"/>
              <c:showBubbleSize val="0"/>
            </c:dLbl>
            <c:dLbl>
              <c:idx val="4"/>
              <c:tx>
                <c:rich>
                  <a:bodyPr/>
                  <a:lstStyle/>
                  <a:p>
                    <a:r>
                      <a:t>225.69</a:t>
                    </a:r>
                  </a:p>
                </c:rich>
              </c:tx>
              <c:showLegendKey val="0"/>
              <c:showVal val="1"/>
              <c:showCatName val="0"/>
              <c:showSerName val="0"/>
              <c:showPercent val="0"/>
              <c:showBubbleSize val="0"/>
            </c:dLbl>
            <c:dLbl>
              <c:idx val="5"/>
              <c:tx>
                <c:rich>
                  <a:bodyPr/>
                  <a:lstStyle/>
                  <a:p>
                    <a:r>
                      <a:t>420.6</a:t>
                    </a:r>
                  </a:p>
                </c:rich>
              </c:tx>
              <c:showLegendKey val="0"/>
              <c:showVal val="1"/>
              <c:showCatName val="0"/>
              <c:showSerName val="0"/>
              <c:showPercent val="0"/>
              <c:showBubbleSize val="0"/>
            </c:dLbl>
            <c:dLbl>
              <c:idx val="6"/>
              <c:tx>
                <c:rich>
                  <a:bodyPr/>
                  <a:lstStyle/>
                  <a:p>
                    <a:r>
                      <a:t>49.39</a:t>
                    </a:r>
                  </a:p>
                </c:rich>
              </c:tx>
              <c:showLegendKey val="0"/>
              <c:showVal val="1"/>
              <c:showCatName val="0"/>
              <c:showSerName val="0"/>
              <c:showPercent val="0"/>
              <c:showBubbleSize val="0"/>
            </c:dLbl>
            <c:dLbl>
              <c:idx val="7"/>
              <c:tx>
                <c:rich>
                  <a:bodyPr/>
                  <a:lstStyle/>
                  <a:p>
                    <a:r>
                      <a:t>204.11</a:t>
                    </a:r>
                  </a:p>
                </c:rich>
              </c:tx>
              <c:showLegendKey val="0"/>
              <c:showVal val="1"/>
              <c:showCatName val="0"/>
              <c:showSerName val="0"/>
              <c:showPercent val="0"/>
              <c:showBubbleSize val="0"/>
            </c:dLbl>
            <c:dLbl>
              <c:idx val="8"/>
              <c:tx>
                <c:rich>
                  <a:bodyPr/>
                  <a:lstStyle/>
                  <a:p>
                    <a:r>
                      <a:t>384.0</a:t>
                    </a:r>
                  </a:p>
                </c:rich>
              </c:tx>
              <c:showLegendKey val="0"/>
              <c:showVal val="1"/>
              <c:showCatName val="0"/>
              <c:showSerName val="0"/>
              <c:showPercent val="0"/>
              <c:showBubbleSize val="0"/>
            </c:dLbl>
            <c:dLbl>
              <c:idx val="9"/>
              <c:tx>
                <c:rich>
                  <a:bodyPr/>
                  <a:lstStyle/>
                  <a:p>
                    <a:r>
                      <a:t>261.89</a:t>
                    </a:r>
                  </a:p>
                </c:rich>
              </c:tx>
              <c:showLegendKey val="0"/>
              <c:showVal val="1"/>
              <c:showCatName val="0"/>
              <c:showSerName val="0"/>
              <c:showPercent val="0"/>
              <c:showBubbleSize val="0"/>
            </c:dLbl>
            <c:dLbl>
              <c:idx val="10"/>
              <c:tx>
                <c:rich>
                  <a:bodyPr/>
                  <a:lstStyle/>
                  <a:p>
                    <a:r>
                      <a:t>367.0</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Mineral Sunscreen Kids Cosmetics Locion 50 180Ml</c:v>
                </c:pt>
                <c:pt idx="1">
                  <c:v>Edgewell Banana Boat Banded Pack Banded Pack 2X Sunscreen Multi 50+ 170Ml</c:v>
                </c:pt>
                <c:pt idx="2">
                  <c:v>Edgewell Banana Boat Mineral Sunscreen Adults Cosmetics Locion 50 180Ml</c:v>
                </c:pt>
                <c:pt idx="3">
                  <c:v>Edgewell Banana Boat Banded Pack Banded Pack 2X Sunscreen Multi 50+ 236Ml</c:v>
                </c:pt>
                <c:pt idx="4">
                  <c:v>Edgewell Banana Boat Gentle Protect Sunscreen Adults Cosmetics Locion 50 180Ml</c:v>
                </c:pt>
                <c:pt idx="5">
                  <c:v>Labs. Expanscience Mustela Sunscreen Kids Cosmetics Locion 50+ 40Ml</c:v>
                </c:pt>
                <c:pt idx="6">
                  <c:v>Others Fabricante Unif. Others Marca Unif. Sunscreen Adults Cosmetics Locion 50+ 35Ml</c:v>
                </c:pt>
                <c:pt idx="7">
                  <c:v>Others Fabricante Unif. Others Marca Unif. Sunscreen Adults Cosmetics Locion 50 100Ml</c:v>
                </c:pt>
                <c:pt idx="8">
                  <c:v>Labs. Expanscience Mustela Sunscreen Baby Cosmetics Locion 50+ 100Ml</c:v>
                </c:pt>
                <c:pt idx="9">
                  <c:v>Australian Gold Australian Gold Sunscreen Adults Cosmetics Locion 50 200Ml</c:v>
                </c:pt>
                <c:pt idx="10">
                  <c:v>Others Fabricante Unif. Others Marca Unif. Sunscreen Kids Cosmetics Locion 50+ 177Ml</c:v>
                </c:pt>
                <c:pt idx="11">
                  <c:v>Others Fabricante Unif. Others Marca Unif. Sunscreen Kids Cosmetics Spray Locion 30 - 49 200Ml</c:v>
                </c:pt>
              </c:strCache>
            </c:strRef>
          </c:cat>
          <c:val>
            <c:numRef>
              <c:f>Sheet1!$B$2:$B$13</c:f>
              <c:numCache>
                <c:formatCode>General</c:formatCode>
                <c:ptCount val="12"/>
                <c:pt idx="0">
                  <c:v>359.99</c:v>
                </c:pt>
                <c:pt idx="1">
                  <c:v>413.7</c:v>
                </c:pt>
                <c:pt idx="2">
                  <c:v>361.98</c:v>
                </c:pt>
                <c:pt idx="3">
                  <c:v>373.77</c:v>
                </c:pt>
                <c:pt idx="4">
                  <c:v>225.69</c:v>
                </c:pt>
                <c:pt idx="5">
                  <c:v>420.6</c:v>
                </c:pt>
                <c:pt idx="6">
                  <c:v>49.39</c:v>
                </c:pt>
                <c:pt idx="7">
                  <c:v>204.11</c:v>
                </c:pt>
                <c:pt idx="8">
                  <c:v>384.0</c:v>
                </c:pt>
                <c:pt idx="9">
                  <c:v>261.89</c:v>
                </c:pt>
                <c:pt idx="10">
                  <c:v>367.0</c:v>
                </c:pt>
                <c:pt idx="11">
                  <c:v>354.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359.59</a:t>
                    </a:r>
                  </a:p>
                </c:rich>
              </c:tx>
              <c:showLegendKey val="0"/>
              <c:showVal val="1"/>
              <c:showCatName val="0"/>
              <c:showSerName val="0"/>
              <c:showPercent val="0"/>
              <c:showBubbleSize val="0"/>
            </c:dLbl>
            <c:dLbl>
              <c:idx val="2"/>
              <c:tx>
                <c:rich>
                  <a:bodyPr/>
                  <a:lstStyle/>
                  <a:p>
                    <a:r>
                      <a:t>36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Crema 50+ 180Ml</c:v>
                </c:pt>
                <c:pt idx="2">
                  <c:v>Others Fabricante Unif. Others Marca Unif. Sunscreen Adults Sport Crema 50 177Ml</c:v>
                </c:pt>
              </c:strCache>
            </c:strRef>
          </c:cat>
          <c:val>
            <c:numRef>
              <c:f>Sheet1!$B$2:$B$4</c:f>
              <c:numCache>
                <c:formatCode>General</c:formatCode>
                <c:ptCount val="3"/>
                <c:pt idx="0">
                  <c:v>348.86</c:v>
                </c:pt>
                <c:pt idx="1">
                  <c:v>359.59</c:v>
                </c:pt>
                <c:pt idx="2">
                  <c:v>36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7.12</a:t>
                    </a:r>
                  </a:p>
                </c:rich>
              </c:tx>
              <c:showLegendKey val="0"/>
              <c:showVal val="1"/>
              <c:showCatName val="0"/>
              <c:showSerName val="0"/>
              <c:showPercent val="0"/>
              <c:showBubbleSize val="0"/>
            </c:dLbl>
            <c:dLbl>
              <c:idx val="1"/>
              <c:tx>
                <c:rich>
                  <a:bodyPr/>
                  <a:lstStyle/>
                  <a:p>
                    <a:r>
                      <a:t>330.0</a:t>
                    </a:r>
                  </a:p>
                </c:rich>
              </c:tx>
              <c:showLegendKey val="0"/>
              <c:showVal val="1"/>
              <c:showCatName val="0"/>
              <c:showSerName val="0"/>
              <c:showPercent val="0"/>
              <c:showBubbleSize val="0"/>
            </c:dLbl>
            <c:dLbl>
              <c:idx val="2"/>
              <c:tx>
                <c:rich>
                  <a:bodyPr/>
                  <a:lstStyle/>
                  <a:p>
                    <a:r>
                      <a:t>80.72</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Island Sport Sunscreen Adults Sport Spray Liquido 50 220Ml</c:v>
                </c:pt>
                <c:pt idx="1">
                  <c:v>Edgewell Hawaiian Tropic Island Sport Sunscreen Adults Sport Liquido 50 240Ml</c:v>
                </c:pt>
                <c:pt idx="2">
                  <c:v>Edgewell Hawaiian Tropic Island Sport Sunscreen Adults Sport Liquido 50 60Ml</c:v>
                </c:pt>
                <c:pt idx="3">
                  <c:v>Australian Gold Australian Gold Sunscreen Adults Sport Liquido 30 - 49 200Ml</c:v>
                </c:pt>
              </c:strCache>
            </c:strRef>
          </c:cat>
          <c:val>
            <c:numRef>
              <c:f>Sheet1!$B$2:$B$5</c:f>
              <c:numCache>
                <c:formatCode>General</c:formatCode>
                <c:ptCount val="4"/>
                <c:pt idx="0">
                  <c:v>347.12</c:v>
                </c:pt>
                <c:pt idx="1">
                  <c:v>330.0</c:v>
                </c:pt>
                <c:pt idx="2">
                  <c:v>80.72</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dLblPos val="t"/>
              <c:showLegendKey val="0"/>
              <c:showVal val="1"/>
              <c:showCatName val="0"/>
              <c:showSerName val="0"/>
              <c:showPercent val="0"/>
              <c:showBubbleSize val="0"/>
            </c:dLbl>
            <c:dLbl>
              <c:idx val="1"/>
              <c:tx>
                <c:rich>
                  <a:bodyPr/>
                  <a:lstStyle/>
                  <a:p>
                    <a:r>
                      <a:t>320.31</a:t>
                    </a:r>
                  </a:p>
                </c:rich>
              </c:tx>
              <c:dLblPos val="t"/>
              <c:showLegendKey val="0"/>
              <c:showVal val="1"/>
              <c:showCatName val="0"/>
              <c:showSerName val="0"/>
              <c:showPercent val="0"/>
              <c:showBubbleSize val="0"/>
            </c:dLbl>
            <c:dLbl>
              <c:idx val="2"/>
              <c:tx>
                <c:rich>
                  <a:bodyPr/>
                  <a:lstStyle/>
                  <a:p>
                    <a:r>
                      <a:t>274.64</a:t>
                    </a:r>
                  </a:p>
                </c:rich>
              </c:tx>
              <c:dLblPos val="t"/>
              <c:showLegendKey val="0"/>
              <c:showVal val="1"/>
              <c:showCatName val="0"/>
              <c:showSerName val="0"/>
              <c:showPercent val="0"/>
              <c:showBubbleSize val="0"/>
            </c:dLbl>
            <c:dLbl>
              <c:idx val="3"/>
              <c:tx>
                <c:rich>
                  <a:bodyPr/>
                  <a:lstStyle/>
                  <a:p>
                    <a:r>
                      <a:t>312.46</a:t>
                    </a:r>
                  </a:p>
                </c:rich>
              </c:tx>
              <c:dLblPos val="t"/>
              <c:showLegendKey val="0"/>
              <c:showVal val="1"/>
              <c:showCatName val="0"/>
              <c:showSerName val="0"/>
              <c:showPercent val="0"/>
              <c:showBubbleSize val="0"/>
            </c:dLbl>
            <c:dLbl>
              <c:idx val="4"/>
              <c:tx>
                <c:rich>
                  <a:bodyPr/>
                  <a:lstStyle/>
                  <a:p>
                    <a:r>
                      <a:t>314.98</a:t>
                    </a:r>
                  </a:p>
                </c:rich>
              </c:tx>
              <c:dLblPos val="t"/>
              <c:showLegendKey val="0"/>
              <c:showVal val="1"/>
              <c:showCatName val="0"/>
              <c:showSerName val="0"/>
              <c:showPercent val="0"/>
              <c:showBubbleSize val="0"/>
            </c:dLbl>
            <c:dLbl>
              <c:idx val="5"/>
              <c:tx>
                <c:rich>
                  <a:bodyPr/>
                  <a:lstStyle/>
                  <a:p>
                    <a:r>
                      <a:t>286.78</a:t>
                    </a:r>
                  </a:p>
                </c:rich>
              </c:tx>
              <c:dLblPos val="t"/>
              <c:showLegendKey val="0"/>
              <c:showVal val="1"/>
              <c:showCatName val="0"/>
              <c:showSerName val="0"/>
              <c:showPercent val="0"/>
              <c:showBubbleSize val="0"/>
            </c:dLbl>
            <c:dLbl>
              <c:idx val="6"/>
              <c:tx>
                <c:rich>
                  <a:bodyPr/>
                  <a:lstStyle/>
                  <a:p>
                    <a:r>
                      <a:t>266.74</a:t>
                    </a:r>
                  </a:p>
                </c:rich>
              </c:tx>
              <c:dLblPos val="t"/>
              <c:showLegendKey val="0"/>
              <c:showVal val="1"/>
              <c:showCatName val="0"/>
              <c:showSerName val="0"/>
              <c:showPercent val="0"/>
              <c:showBubbleSize val="0"/>
            </c:dLbl>
            <c:dLbl>
              <c:idx val="7"/>
              <c:tx>
                <c:rich>
                  <a:bodyPr/>
                  <a:lstStyle/>
                  <a:p>
                    <a:r>
                      <a:t>84.58</a:t>
                    </a:r>
                  </a:p>
                </c:rich>
              </c:tx>
              <c:dLblPos val="t"/>
              <c:showLegendKey val="0"/>
              <c:showVal val="1"/>
              <c:showCatName val="0"/>
              <c:showSerName val="0"/>
              <c:showPercent val="0"/>
              <c:showBubbleSize val="0"/>
            </c:dLbl>
            <c:dLbl>
              <c:idx val="8"/>
              <c:tx>
                <c:rich>
                  <a:bodyPr/>
                  <a:lstStyle/>
                  <a:p>
                    <a:r>
                      <a:t>324.15</a:t>
                    </a:r>
                  </a:p>
                </c:rich>
              </c:tx>
              <c:dLblPos val="t"/>
              <c:showLegendKey val="0"/>
              <c:showVal val="1"/>
              <c:showCatName val="0"/>
              <c:showSerName val="0"/>
              <c:showPercent val="0"/>
              <c:showBubbleSize val="0"/>
            </c:dLbl>
            <c:dLbl>
              <c:idx val="9"/>
              <c:tx>
                <c:rich>
                  <a:bodyPr/>
                  <a:lstStyle/>
                  <a:p>
                    <a:r>
                      <a:t>320.29</a:t>
                    </a:r>
                  </a:p>
                </c:rich>
              </c:tx>
              <c:dLblPos val="t"/>
              <c:showLegendKey val="0"/>
              <c:showVal val="1"/>
              <c:showCatName val="0"/>
              <c:showSerName val="0"/>
              <c:showPercent val="0"/>
              <c:showBubbleSize val="0"/>
            </c:dLbl>
            <c:dLbl>
              <c:idx val="10"/>
              <c:tx>
                <c:rich>
                  <a:bodyPr/>
                  <a:lstStyle/>
                  <a:p>
                    <a:r>
                      <a:t>318.57</a:t>
                    </a:r>
                  </a:p>
                </c:rich>
              </c:tx>
              <c:dLblPos val="t"/>
              <c:showLegendKey val="0"/>
              <c:showVal val="1"/>
              <c:showCatName val="0"/>
              <c:showSerName val="0"/>
              <c:showPercent val="0"/>
              <c:showBubbleSize val="0"/>
            </c:dLbl>
            <c:dLbl>
              <c:idx val="11"/>
              <c:tx>
                <c:rich>
                  <a:bodyPr/>
                  <a:lstStyle/>
                  <a:p>
                    <a:r>
                      <a:t>256.75</a:t>
                    </a:r>
                  </a:p>
                </c:rich>
              </c:tx>
              <c:dLblPos val="t"/>
              <c:showLegendKey val="0"/>
              <c:showVal val="1"/>
              <c:showCatName val="0"/>
              <c:showSerName val="0"/>
              <c:showPercent val="0"/>
              <c:showBubbleSize val="0"/>
            </c:dLbl>
            <c:dLbl>
              <c:idx val="12"/>
              <c:tx>
                <c:rich>
                  <a:bodyPr/>
                  <a:lstStyle/>
                  <a:p>
                    <a:r>
                      <a:t>303.02</a:t>
                    </a:r>
                  </a:p>
                </c:rich>
              </c:tx>
              <c:dLblPos val="t"/>
              <c:showLegendKey val="0"/>
              <c:showVal val="1"/>
              <c:showCatName val="0"/>
              <c:showSerName val="0"/>
              <c:showPercent val="0"/>
              <c:showBubbleSize val="0"/>
            </c:dLbl>
            <c:dLbl>
              <c:idx val="13"/>
              <c:tx>
                <c:rich>
                  <a:bodyPr/>
                  <a:lstStyle/>
                  <a:p>
                    <a:r>
                      <a:t>247.78</a:t>
                    </a:r>
                  </a:p>
                </c:rich>
              </c:tx>
              <c:dLblPos val="t"/>
              <c:showLegendKey val="0"/>
              <c:showVal val="1"/>
              <c:showCatName val="0"/>
              <c:showSerName val="0"/>
              <c:showPercent val="0"/>
              <c:showBubbleSize val="0"/>
            </c:dLbl>
            <c:dLbl>
              <c:idx val="14"/>
              <c:tx>
                <c:rich>
                  <a:bodyPr/>
                  <a:lstStyle/>
                  <a:p>
                    <a:r>
                      <a:t>148.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Aqua Protect Sunscreen Adults Cosmetics Spray Liquido 50+ 170Ml</c:v>
                </c:pt>
                <c:pt idx="4">
                  <c:v>Edgewell Banana Boat Dry Balance Sunscreen Adults Sport Spray Liquido 50 220Ml</c:v>
                </c:pt>
                <c:pt idx="5">
                  <c:v>Edgewell Banana Boat Advanced Protection Sunscreen Adults Cosmetics Liquido 50+ 24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Sport Locion 50 180Ml</c:v>
                </c:pt>
                <c:pt idx="10">
                  <c:v>Edgewell Banana Boat Mineral Sunscreen Adults Cosmetics Locion 50 180Ml</c:v>
                </c:pt>
                <c:pt idx="11">
                  <c:v>Edgewell Banana Boat Kids Sport Sunscreen Kids Cosmetics Crema 50 180Ml</c:v>
                </c:pt>
                <c:pt idx="12">
                  <c:v>Edgewell Banana Boat Dry Balance Sunscreen Adults Sport Crema 50+ 180Ml</c:v>
                </c:pt>
                <c:pt idx="13">
                  <c:v>Edgewell Banana Boat Advanced Protection Sunscreen Adults Cosmetics Liquido 50 180Ml</c:v>
                </c:pt>
                <c:pt idx="14">
                  <c:v>Edgewell Banana Boat After Sun After Sun Adults Cosmetics Gel 0 - 5 230Ml</c:v>
                </c:pt>
              </c:strCache>
            </c:strRef>
          </c:cat>
          <c:val>
            <c:numRef>
              <c:f>Sheet1!$B$2:$B$16</c:f>
              <c:numCache>
                <c:formatCode>General</c:formatCode>
                <c:ptCount val="15"/>
                <c:pt idx="0">
                  <c:v>286.35</c:v>
                </c:pt>
                <c:pt idx="1">
                  <c:v>320.31</c:v>
                </c:pt>
                <c:pt idx="2">
                  <c:v>274.64</c:v>
                </c:pt>
                <c:pt idx="3">
                  <c:v>312.46</c:v>
                </c:pt>
                <c:pt idx="4">
                  <c:v>314.98</c:v>
                </c:pt>
                <c:pt idx="5">
                  <c:v>286.78</c:v>
                </c:pt>
                <c:pt idx="6">
                  <c:v>266.74</c:v>
                </c:pt>
                <c:pt idx="7">
                  <c:v>84.58</c:v>
                </c:pt>
                <c:pt idx="8">
                  <c:v>324.15</c:v>
                </c:pt>
                <c:pt idx="9">
                  <c:v>320.29</c:v>
                </c:pt>
                <c:pt idx="10">
                  <c:v>318.57</c:v>
                </c:pt>
                <c:pt idx="11">
                  <c:v>256.75</c:v>
                </c:pt>
                <c:pt idx="12">
                  <c:v>303.02</c:v>
                </c:pt>
                <c:pt idx="13">
                  <c:v>247.78</c:v>
                </c:pt>
                <c:pt idx="14">
                  <c:v>14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9.19</a:t>
                    </a:r>
                  </a:p>
                </c:rich>
              </c:tx>
              <c:showLegendKey val="0"/>
              <c:showVal val="1"/>
              <c:showCatName val="0"/>
              <c:showSerName val="0"/>
              <c:showPercent val="0"/>
              <c:showBubbleSize val="0"/>
            </c:dLbl>
            <c:dLbl>
              <c:idx val="1"/>
              <c:tx>
                <c:rich>
                  <a:bodyPr/>
                  <a:lstStyle/>
                  <a:p>
                    <a:r>
                      <a:t>326.51</a:t>
                    </a:r>
                  </a:p>
                </c:rich>
              </c:tx>
              <c:showLegendKey val="0"/>
              <c:showVal val="1"/>
              <c:showCatName val="0"/>
              <c:showSerName val="0"/>
              <c:showPercent val="0"/>
              <c:showBubbleSize val="0"/>
            </c:dLbl>
            <c:dLbl>
              <c:idx val="2"/>
              <c:tx>
                <c:rich>
                  <a:bodyPr/>
                  <a:lstStyle/>
                  <a:p>
                    <a:r>
                      <a:t>300.0</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Liquido 50 220Ml</c:v>
                </c:pt>
                <c:pt idx="1">
                  <c:v>Edgewell Banana Boat Advanced Protection Sunscreen Adults Sport Spray Liquido 50+ 170Ml</c:v>
                </c:pt>
                <c:pt idx="2">
                  <c:v>Edgewell Banana Boat Advanced Protection Sunscreen Adults Sport Liquido 50 180Ml</c:v>
                </c:pt>
                <c:pt idx="3">
                  <c:v>Australian Gold Australian Gold Sunscreen Adults Sport Liquido 30 - 49 200Ml</c:v>
                </c:pt>
              </c:strCache>
            </c:strRef>
          </c:cat>
          <c:val>
            <c:numRef>
              <c:f>Sheet1!$B$2:$B$5</c:f>
              <c:numCache>
                <c:formatCode>General</c:formatCode>
                <c:ptCount val="4"/>
                <c:pt idx="0">
                  <c:v>329.19</c:v>
                </c:pt>
                <c:pt idx="1">
                  <c:v>326.51</c:v>
                </c:pt>
                <c:pt idx="2">
                  <c:v>300.0</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8.05</a:t>
                    </a:r>
                  </a:p>
                </c:rich>
              </c:tx>
              <c:showLegendKey val="0"/>
              <c:showVal val="1"/>
              <c:showCatName val="0"/>
              <c:showSerName val="0"/>
              <c:showPercent val="0"/>
              <c:showBubbleSize val="0"/>
            </c:dLbl>
            <c:dLbl>
              <c:idx val="1"/>
              <c:tx>
                <c:rich>
                  <a:bodyPr/>
                  <a:lstStyle/>
                  <a:p>
                    <a:r>
                      <a:t>88.14</a:t>
                    </a:r>
                  </a:p>
                </c:rich>
              </c:tx>
              <c:showLegendKey val="0"/>
              <c:showVal val="1"/>
              <c:showCatName val="0"/>
              <c:showSerName val="0"/>
              <c:showPercent val="0"/>
              <c:showBubbleSize val="0"/>
            </c:dLbl>
            <c:dLbl>
              <c:idx val="2"/>
              <c:tx>
                <c:rich>
                  <a:bodyPr/>
                  <a:lstStyle/>
                  <a:p>
                    <a:r>
                      <a:t>443.31</a:t>
                    </a:r>
                  </a:p>
                </c:rich>
              </c:tx>
              <c:showLegendKey val="0"/>
              <c:showVal val="1"/>
              <c:showCatName val="0"/>
              <c:showSerName val="0"/>
              <c:showPercent val="0"/>
              <c:showBubbleSize val="0"/>
            </c:dLbl>
            <c:dLbl>
              <c:idx val="3"/>
              <c:tx>
                <c:rich>
                  <a:bodyPr/>
                  <a:lstStyle/>
                  <a:p>
                    <a:r>
                      <a:t>286.15</a:t>
                    </a:r>
                  </a:p>
                </c:rich>
              </c:tx>
              <c:showLegendKey val="0"/>
              <c:showVal val="1"/>
              <c:showCatName val="0"/>
              <c:showSerName val="0"/>
              <c:showPercent val="0"/>
              <c:showBubbleSize val="0"/>
            </c:dLbl>
            <c:dLbl>
              <c:idx val="4"/>
              <c:tx>
                <c:rich>
                  <a:bodyPr/>
                  <a:lstStyle/>
                  <a:p>
                    <a:r>
                      <a:t>167.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Mineral Sunscreen Adults Sport Locion 50 180Ml</c:v>
                </c:pt>
                <c:pt idx="1">
                  <c:v>Edgewell Banana Boat Dry Balance Sunscreen Adults Sport Locion 50+ 60Ml</c:v>
                </c:pt>
                <c:pt idx="2">
                  <c:v>Edgewell Banana Boat Banded Pack Banded Pack 2X Sunscreen Multi 50+ 170Ml</c:v>
                </c:pt>
                <c:pt idx="3">
                  <c:v>Others Fabricante Unif. Others Marca Unif. Sunscreen Adults Sport Spray Locion 50 200Ml</c:v>
                </c:pt>
                <c:pt idx="4">
                  <c:v>Bayer Consumer Care Coppertone Sunscreen Adults Sport Locion 50 207Ml</c:v>
                </c:pt>
              </c:strCache>
            </c:strRef>
          </c:cat>
          <c:val>
            <c:numRef>
              <c:f>Sheet1!$B$2:$B$6</c:f>
              <c:numCache>
                <c:formatCode>General</c:formatCode>
                <c:ptCount val="5"/>
                <c:pt idx="0">
                  <c:v>358.05</c:v>
                </c:pt>
                <c:pt idx="1">
                  <c:v>88.14</c:v>
                </c:pt>
                <c:pt idx="2">
                  <c:v>443.31</c:v>
                </c:pt>
                <c:pt idx="3">
                  <c:v>286.15</c:v>
                </c:pt>
                <c:pt idx="4">
                  <c:v>167.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258.0</a:t>
                    </a:r>
                  </a:p>
                </c:rich>
              </c:tx>
              <c:showLegendKey val="0"/>
              <c:showVal val="1"/>
              <c:showCatName val="0"/>
              <c:showSerName val="0"/>
              <c:showPercent val="0"/>
              <c:showBubbleSize val="0"/>
            </c:dLbl>
            <c:dLbl>
              <c:idx val="2"/>
              <c:tx>
                <c:rich>
                  <a:bodyPr/>
                  <a:lstStyle/>
                  <a:p>
                    <a:r>
                      <a:t>294.01</a:t>
                    </a:r>
                  </a:p>
                </c:rich>
              </c:tx>
              <c:showLegendKey val="0"/>
              <c:showVal val="1"/>
              <c:showCatName val="0"/>
              <c:showSerName val="0"/>
              <c:showPercent val="0"/>
              <c:showBubbleSize val="0"/>
            </c:dLbl>
            <c:dLbl>
              <c:idx val="3"/>
              <c:tx>
                <c:rich>
                  <a:bodyPr/>
                  <a:lstStyle/>
                  <a:p>
                    <a:r>
                      <a:t>232.54</a:t>
                    </a:r>
                  </a:p>
                </c:rich>
              </c:tx>
              <c:showLegendKey val="0"/>
              <c:showVal val="1"/>
              <c:showCatName val="0"/>
              <c:showSerName val="0"/>
              <c:showPercent val="0"/>
              <c:showBubbleSize val="0"/>
            </c:dLbl>
            <c:dLbl>
              <c:idx val="4"/>
              <c:tx>
                <c:rich>
                  <a:bodyPr/>
                  <a:lstStyle/>
                  <a:p>
                    <a:r>
                      <a:t>290.0</a:t>
                    </a:r>
                  </a:p>
                </c:rich>
              </c:tx>
              <c:showLegendKey val="0"/>
              <c:showVal val="1"/>
              <c:showCatName val="0"/>
              <c:showSerName val="0"/>
              <c:showPercent val="0"/>
              <c:showBubbleSize val="0"/>
            </c:dLbl>
            <c:dLbl>
              <c:idx val="5"/>
              <c:tx>
                <c:rich>
                  <a:bodyPr/>
                  <a:lstStyle/>
                  <a:p>
                    <a:r>
                      <a:t>96.6</a:t>
                    </a:r>
                  </a:p>
                </c:rich>
              </c:tx>
              <c:showLegendKey val="0"/>
              <c:showVal val="1"/>
              <c:showCatName val="0"/>
              <c:showSerName val="0"/>
              <c:showPercent val="0"/>
              <c:showBubbleSize val="0"/>
            </c:dLbl>
            <c:dLbl>
              <c:idx val="6"/>
              <c:tx>
                <c:rich>
                  <a:bodyPr/>
                  <a:lstStyle/>
                  <a:p>
                    <a:r>
                      <a:t>105.45</a:t>
                    </a:r>
                  </a:p>
                </c:rich>
              </c:tx>
              <c:showLegendKey val="0"/>
              <c:showVal val="1"/>
              <c:showCatName val="0"/>
              <c:showSerName val="0"/>
              <c:showPercent val="0"/>
              <c:showBubbleSize val="0"/>
            </c:dLbl>
            <c:dLbl>
              <c:idx val="7"/>
              <c:tx>
                <c:rich>
                  <a:bodyPr/>
                  <a:lstStyle/>
                  <a:p>
                    <a:r>
                      <a:t>156.91</a:t>
                    </a:r>
                  </a:p>
                </c:rich>
              </c:tx>
              <c:showLegendKey val="0"/>
              <c:showVal val="1"/>
              <c:showCatName val="0"/>
              <c:showSerName val="0"/>
              <c:showPercent val="0"/>
              <c:showBubbleSize val="0"/>
            </c:dLbl>
            <c:dLbl>
              <c:idx val="8"/>
              <c:tx>
                <c:rich>
                  <a:bodyPr/>
                  <a:lstStyle/>
                  <a:p>
                    <a:r>
                      <a:t>118.11</a:t>
                    </a:r>
                  </a:p>
                </c:rich>
              </c:tx>
              <c:showLegendKey val="0"/>
              <c:showVal val="1"/>
              <c:showCatName val="0"/>
              <c:showSerName val="0"/>
              <c:showPercent val="0"/>
              <c:showBubbleSize val="0"/>
            </c:dLbl>
            <c:dLbl>
              <c:idx val="9"/>
              <c:tx>
                <c:rich>
                  <a:bodyPr/>
                  <a:lstStyle/>
                  <a:p>
                    <a:r>
                      <a:t>158.52</a:t>
                    </a:r>
                  </a:p>
                </c:rich>
              </c:tx>
              <c:showLegendKey val="0"/>
              <c:showVal val="1"/>
              <c:showCatName val="0"/>
              <c:showSerName val="0"/>
              <c:showPercent val="0"/>
              <c:showBubbleSize val="0"/>
            </c:dLbl>
            <c:dLbl>
              <c:idx val="10"/>
              <c:tx>
                <c:rich>
                  <a:bodyPr/>
                  <a:lstStyle/>
                  <a:p>
                    <a:r>
                      <a:t>58.24</a:t>
                    </a:r>
                  </a:p>
                </c:rich>
              </c:tx>
              <c:showLegendKey val="0"/>
              <c:showVal val="1"/>
              <c:showCatName val="0"/>
              <c:showSerName val="0"/>
              <c:showPercent val="0"/>
              <c:showBubbleSize val="0"/>
            </c:dLbl>
            <c:dLbl>
              <c:idx val="11"/>
              <c:tx>
                <c:rich>
                  <a:bodyPr/>
                  <a:lstStyle/>
                  <a:p>
                    <a:r>
                      <a:t>97.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ther Sunscreen Adults Cosmetics Crema 50+ 240Ml</c:v>
                </c:pt>
                <c:pt idx="1">
                  <c:v>Edgewell Hawaiian Tropic Baby Sunscreen Baby Cosmetics Crema 50+ 240Ml</c:v>
                </c:pt>
                <c:pt idx="2">
                  <c:v>Beiersdorf Nivea Sunscreen Adults Cosmetics Crema 50+ 200Ml</c:v>
                </c:pt>
                <c:pt idx="3">
                  <c:v>Beiersdorf Nivea Sunscreen Adults Cosmetics Crema 50 50Ml</c:v>
                </c:pt>
                <c:pt idx="4">
                  <c:v>Beiersdorf Nivea Sunscreen Adults Cosmetics Crema 50+ 40Ml</c:v>
                </c:pt>
                <c:pt idx="5">
                  <c:v>Inds.Lavin De Mexico Nuvel Sunscreen Adults Cosmetics Crema 50 120Ml</c:v>
                </c:pt>
                <c:pt idx="6">
                  <c:v>Inds.Lavin De Mexico Nuvel Sunscreen Kids Cosmetics Crema 50 120Ml</c:v>
                </c:pt>
                <c:pt idx="7">
                  <c:v>Others Fabricante Unif. Others Marca Unif. Sunscreen Adults Cosmetics Crema 50+ 125Ml</c:v>
                </c:pt>
                <c:pt idx="8">
                  <c:v>Others Fabricante Unif. Others Marca Unif. Sunscreen Adults Cosmetics Crema 50 100Ml</c:v>
                </c:pt>
                <c:pt idx="9">
                  <c:v>Others Fabricante Unif. Others Marca Unif. Sunscreen Kids Cosmetics Crema 50+ 125Ml</c:v>
                </c:pt>
                <c:pt idx="10">
                  <c:v>Others Fabricante Unif. Others Marca Unif. Sunscreen Adults Cosmetics Crema 50 60Ml</c:v>
                </c:pt>
                <c:pt idx="11">
                  <c:v>Others Fabricante Unif. Others Marca Unif. Sunscreen Adults Cosmetics Crema 50 50Ml</c:v>
                </c:pt>
              </c:strCache>
            </c:strRef>
          </c:cat>
          <c:val>
            <c:numRef>
              <c:f>Sheet1!$B$2:$B$13</c:f>
              <c:numCache>
                <c:formatCode>General</c:formatCode>
                <c:ptCount val="12"/>
                <c:pt idx="0">
                  <c:v>240.0</c:v>
                </c:pt>
                <c:pt idx="1">
                  <c:v>258.0</c:v>
                </c:pt>
                <c:pt idx="2">
                  <c:v>294.01</c:v>
                </c:pt>
                <c:pt idx="3">
                  <c:v>232.54</c:v>
                </c:pt>
                <c:pt idx="4">
                  <c:v>290.0</c:v>
                </c:pt>
                <c:pt idx="5">
                  <c:v>96.6</c:v>
                </c:pt>
                <c:pt idx="6">
                  <c:v>105.45</c:v>
                </c:pt>
                <c:pt idx="7">
                  <c:v>156.91</c:v>
                </c:pt>
                <c:pt idx="8">
                  <c:v>118.11</c:v>
                </c:pt>
                <c:pt idx="9">
                  <c:v>158.52</c:v>
                </c:pt>
                <c:pt idx="10">
                  <c:v>58.24</c:v>
                </c:pt>
                <c:pt idx="11">
                  <c:v>97.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0</a:t>
                    </a:r>
                  </a:p>
                </c:rich>
              </c:tx>
              <c:showLegendKey val="0"/>
              <c:showVal val="1"/>
              <c:showCatName val="0"/>
              <c:showSerName val="0"/>
              <c:showPercent val="0"/>
              <c:showBubbleSize val="0"/>
            </c:dLbl>
            <c:dLbl>
              <c:idx val="1"/>
              <c:tx>
                <c:rich>
                  <a:bodyPr/>
                  <a:lstStyle/>
                  <a:p>
                    <a:r>
                      <a:t>188.63</a:t>
                    </a:r>
                  </a:p>
                </c:rich>
              </c:tx>
              <c:showLegendKey val="0"/>
              <c:showVal val="1"/>
              <c:showCatName val="0"/>
              <c:showSerName val="0"/>
              <c:showPercent val="0"/>
              <c:showBubbleSize val="0"/>
            </c:dLbl>
            <c:dLbl>
              <c:idx val="2"/>
              <c:tx>
                <c:rich>
                  <a:bodyPr/>
                  <a:lstStyle/>
                  <a:p>
                    <a:r>
                      <a:t>295.0</a:t>
                    </a:r>
                  </a:p>
                </c:rich>
              </c:tx>
              <c:showLegendKey val="0"/>
              <c:showVal val="1"/>
              <c:showCatName val="0"/>
              <c:showSerName val="0"/>
              <c:showPercent val="0"/>
              <c:showBubbleSize val="0"/>
            </c:dLbl>
            <c:dLbl>
              <c:idx val="3"/>
              <c:tx>
                <c:rich>
                  <a:bodyPr/>
                  <a:lstStyle/>
                  <a:p>
                    <a:r>
                      <a:t>362.53</a:t>
                    </a:r>
                  </a:p>
                </c:rich>
              </c:tx>
              <c:showLegendKey val="0"/>
              <c:showVal val="1"/>
              <c:showCatName val="0"/>
              <c:showSerName val="0"/>
              <c:showPercent val="0"/>
              <c:showBubbleSize val="0"/>
            </c:dLbl>
            <c:dLbl>
              <c:idx val="4"/>
              <c:tx>
                <c:rich>
                  <a:bodyPr/>
                  <a:lstStyle/>
                  <a:p>
                    <a:r>
                      <a:t>172.05</a:t>
                    </a:r>
                  </a:p>
                </c:rich>
              </c:tx>
              <c:showLegendKey val="0"/>
              <c:showVal val="1"/>
              <c:showCatName val="0"/>
              <c:showSerName val="0"/>
              <c:showPercent val="0"/>
              <c:showBubbleSize val="0"/>
            </c:dLbl>
            <c:dLbl>
              <c:idx val="5"/>
              <c:tx>
                <c:rich>
                  <a:bodyPr/>
                  <a:lstStyle/>
                  <a:p>
                    <a:r>
                      <a:t>243.76</a:t>
                    </a:r>
                  </a:p>
                </c:rich>
              </c:tx>
              <c:showLegendKey val="0"/>
              <c:showVal val="1"/>
              <c:showCatName val="0"/>
              <c:showSerName val="0"/>
              <c:showPercent val="0"/>
              <c:showBubbleSize val="0"/>
            </c:dLbl>
            <c:dLbl>
              <c:idx val="6"/>
              <c:tx>
                <c:rich>
                  <a:bodyPr/>
                  <a:lstStyle/>
                  <a:p>
                    <a:r>
                      <a:t>9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Hawaiian Tropic Sheer Touch Sunscreen Adults Cosmetics Liquido 30 - 49 60Ml</c:v>
                </c:pt>
                <c:pt idx="1">
                  <c:v>Beiersdorf Nivea Sunscreen Adults Cosmetics Liquido 50+ 125Ml</c:v>
                </c:pt>
                <c:pt idx="2">
                  <c:v>Beiersdorf Nivea Sunscreen Kids Cosmetics Liquido 50+ 200Ml</c:v>
                </c:pt>
                <c:pt idx="3">
                  <c:v>Beiersdorf Nivea Sunscreen Adults Cosmetics Spray Liquido 50 200Ml</c:v>
                </c:pt>
                <c:pt idx="4">
                  <c:v>Beiersdorf Nivea Sunscreen Kids Cosmetics Liquido 50+ 125Ml</c:v>
                </c:pt>
                <c:pt idx="5">
                  <c:v>Beiersdorf Nivea Sunscreen Adults Cosmetics Liquido 50 200Ml</c:v>
                </c:pt>
                <c:pt idx="6">
                  <c:v>Others Fabricante Unif. Others Marca Unif. Sunscreen Adults Cosmetics Spray Liquido 50+ 50Ml</c:v>
                </c:pt>
              </c:strCache>
            </c:strRef>
          </c:cat>
          <c:val>
            <c:numRef>
              <c:f>Sheet1!$B$2:$B$8</c:f>
              <c:numCache>
                <c:formatCode>General</c:formatCode>
                <c:ptCount val="7"/>
                <c:pt idx="0">
                  <c:v>133.0</c:v>
                </c:pt>
                <c:pt idx="1">
                  <c:v>188.63</c:v>
                </c:pt>
                <c:pt idx="2">
                  <c:v>295.0</c:v>
                </c:pt>
                <c:pt idx="3">
                  <c:v>362.53</c:v>
                </c:pt>
                <c:pt idx="4">
                  <c:v>172.05</c:v>
                </c:pt>
                <c:pt idx="5">
                  <c:v>243.76</c:v>
                </c:pt>
                <c:pt idx="6">
                  <c:v>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188.63</a:t>
                    </a:r>
                  </a:p>
                </c:rich>
              </c:tx>
              <c:showLegendKey val="0"/>
              <c:showVal val="1"/>
              <c:showCatName val="0"/>
              <c:showSerName val="0"/>
              <c:showPercent val="0"/>
              <c:showBubbleSize val="0"/>
            </c:dLbl>
            <c:dLbl>
              <c:idx val="2"/>
              <c:tx>
                <c:rich>
                  <a:bodyPr/>
                  <a:lstStyle/>
                  <a:p>
                    <a:r>
                      <a:t>295.0</a:t>
                    </a:r>
                  </a:p>
                </c:rich>
              </c:tx>
              <c:showLegendKey val="0"/>
              <c:showVal val="1"/>
              <c:showCatName val="0"/>
              <c:showSerName val="0"/>
              <c:showPercent val="0"/>
              <c:showBubbleSize val="0"/>
            </c:dLbl>
            <c:dLbl>
              <c:idx val="3"/>
              <c:tx>
                <c:rich>
                  <a:bodyPr/>
                  <a:lstStyle/>
                  <a:p>
                    <a:r>
                      <a:t>362.53</a:t>
                    </a:r>
                  </a:p>
                </c:rich>
              </c:tx>
              <c:showLegendKey val="0"/>
              <c:showVal val="1"/>
              <c:showCatName val="0"/>
              <c:showSerName val="0"/>
              <c:showPercent val="0"/>
              <c:showBubbleSize val="0"/>
            </c:dLbl>
            <c:dLbl>
              <c:idx val="4"/>
              <c:tx>
                <c:rich>
                  <a:bodyPr/>
                  <a:lstStyle/>
                  <a:p>
                    <a:r>
                      <a:t>172.05</a:t>
                    </a:r>
                  </a:p>
                </c:rich>
              </c:tx>
              <c:showLegendKey val="0"/>
              <c:showVal val="1"/>
              <c:showCatName val="0"/>
              <c:showSerName val="0"/>
              <c:showPercent val="0"/>
              <c:showBubbleSize val="0"/>
            </c:dLbl>
            <c:dLbl>
              <c:idx val="5"/>
              <c:tx>
                <c:rich>
                  <a:bodyPr/>
                  <a:lstStyle/>
                  <a:p>
                    <a:r>
                      <a:t>243.76</a:t>
                    </a:r>
                  </a:p>
                </c:rich>
              </c:tx>
              <c:showLegendKey val="0"/>
              <c:showVal val="1"/>
              <c:showCatName val="0"/>
              <c:showSerName val="0"/>
              <c:showPercent val="0"/>
              <c:showBubbleSize val="0"/>
            </c:dLbl>
            <c:dLbl>
              <c:idx val="6"/>
              <c:tx>
                <c:rich>
                  <a:bodyPr/>
                  <a:lstStyle/>
                  <a:p>
                    <a:r>
                      <a:t>9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Liquido 50+ 60Ml</c:v>
                </c:pt>
                <c:pt idx="1">
                  <c:v>Beiersdorf Nivea Sunscreen Adults Cosmetics Liquido 50+ 125Ml</c:v>
                </c:pt>
                <c:pt idx="2">
                  <c:v>Beiersdorf Nivea Sunscreen Kids Cosmetics Liquido 50+ 200Ml</c:v>
                </c:pt>
                <c:pt idx="3">
                  <c:v>Beiersdorf Nivea Sunscreen Adults Cosmetics Spray Liquido 50 200Ml</c:v>
                </c:pt>
                <c:pt idx="4">
                  <c:v>Beiersdorf Nivea Sunscreen Kids Cosmetics Liquido 50+ 125Ml</c:v>
                </c:pt>
                <c:pt idx="5">
                  <c:v>Beiersdorf Nivea Sunscreen Adults Cosmetics Liquido 50 200Ml</c:v>
                </c:pt>
                <c:pt idx="6">
                  <c:v>Others Fabricante Unif. Others Marca Unif. Sunscreen Adults Cosmetics Spray Liquido 50+ 50Ml</c:v>
                </c:pt>
              </c:strCache>
            </c:strRef>
          </c:cat>
          <c:val>
            <c:numRef>
              <c:f>Sheet1!$B$2:$B$8</c:f>
              <c:numCache>
                <c:formatCode>General</c:formatCode>
                <c:ptCount val="7"/>
                <c:pt idx="0">
                  <c:v>96.8</c:v>
                </c:pt>
                <c:pt idx="1">
                  <c:v>188.63</c:v>
                </c:pt>
                <c:pt idx="2">
                  <c:v>295.0</c:v>
                </c:pt>
                <c:pt idx="3">
                  <c:v>362.53</c:v>
                </c:pt>
                <c:pt idx="4">
                  <c:v>172.05</c:v>
                </c:pt>
                <c:pt idx="5">
                  <c:v>243.76</c:v>
                </c:pt>
                <c:pt idx="6">
                  <c:v>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4.59</a:t>
                    </a:r>
                  </a:p>
                </c:rich>
              </c:tx>
              <c:showLegendKey val="0"/>
              <c:showVal val="1"/>
              <c:showCatName val="0"/>
              <c:showSerName val="0"/>
              <c:showPercent val="0"/>
              <c:showBubbleSize val="0"/>
            </c:dLbl>
            <c:dLbl>
              <c:idx val="1"/>
              <c:tx>
                <c:rich>
                  <a:bodyPr/>
                  <a:lstStyle/>
                  <a:p>
                    <a:r>
                      <a:t>1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Mineral Sunscreen Adults Cosmetics Locion 50 60Ml</c:v>
                </c:pt>
                <c:pt idx="1">
                  <c:v>Edgewell Banana Boat Gentle Protect Sunscreen Adults Cosmetics Locion 50 180Ml</c:v>
                </c:pt>
              </c:strCache>
            </c:strRef>
          </c:cat>
          <c:val>
            <c:numRef>
              <c:f>Sheet1!$B$2:$B$3</c:f>
              <c:numCache>
                <c:formatCode>General</c:formatCode>
                <c:ptCount val="2"/>
                <c:pt idx="0">
                  <c:v>234.59</c:v>
                </c:pt>
                <c:pt idx="1">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09</a:t>
                    </a:r>
                  </a:p>
                </c:rich>
              </c:tx>
              <c:showLegendKey val="0"/>
              <c:showVal val="1"/>
              <c:showCatName val="0"/>
              <c:showSerName val="0"/>
              <c:showPercent val="0"/>
              <c:showBubbleSize val="0"/>
            </c:dLbl>
            <c:dLbl>
              <c:idx val="1"/>
              <c:tx>
                <c:rich>
                  <a:bodyPr/>
                  <a:lstStyle/>
                  <a:p>
                    <a:r>
                      <a:t>22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Liquido 50 60Ml</c:v>
                </c:pt>
                <c:pt idx="1">
                  <c:v>Edgewell Hawaiian Tropic Island Sport Sunscreen Adults Sport Spray Liquido 50 220Ml</c:v>
                </c:pt>
              </c:strCache>
            </c:strRef>
          </c:cat>
          <c:val>
            <c:numRef>
              <c:f>Sheet1!$B$2:$B$3</c:f>
              <c:numCache>
                <c:formatCode>General</c:formatCode>
                <c:ptCount val="2"/>
                <c:pt idx="0">
                  <c:v>70.09</c:v>
                </c:pt>
                <c:pt idx="1">
                  <c:v>22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5.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20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189.54</a:t>
                    </a:r>
                  </a:p>
                </c:rich>
              </c:tx>
              <c:showLegendKey val="0"/>
              <c:showVal val="1"/>
              <c:showCatName val="0"/>
              <c:showSerName val="0"/>
              <c:showPercent val="0"/>
              <c:showBubbleSize val="0"/>
            </c:dLbl>
            <c:dLbl>
              <c:idx val="2"/>
              <c:tx>
                <c:rich>
                  <a:bodyPr/>
                  <a:lstStyle/>
                  <a:p>
                    <a:r>
                      <a:t>300.48</a:t>
                    </a:r>
                  </a:p>
                </c:rich>
              </c:tx>
              <c:showLegendKey val="0"/>
              <c:showVal val="1"/>
              <c:showCatName val="0"/>
              <c:showSerName val="0"/>
              <c:showPercent val="0"/>
              <c:showBubbleSize val="0"/>
            </c:dLbl>
            <c:dLbl>
              <c:idx val="3"/>
              <c:tx>
                <c:rich>
                  <a:bodyPr/>
                  <a:lstStyle/>
                  <a:p>
                    <a:r>
                      <a:t>264.11</a:t>
                    </a:r>
                  </a:p>
                </c:rich>
              </c:tx>
              <c:showLegendKey val="0"/>
              <c:showVal val="1"/>
              <c:showCatName val="0"/>
              <c:showSerName val="0"/>
              <c:showPercent val="0"/>
              <c:showBubbleSize val="0"/>
            </c:dLbl>
            <c:dLbl>
              <c:idx val="4"/>
              <c:tx>
                <c:rich>
                  <a:bodyPr/>
                  <a:lstStyle/>
                  <a:p>
                    <a:r>
                      <a:t>305.54</a:t>
                    </a:r>
                  </a:p>
                </c:rich>
              </c:tx>
              <c:showLegendKey val="0"/>
              <c:showVal val="1"/>
              <c:showCatName val="0"/>
              <c:showSerName val="0"/>
              <c:showPercent val="0"/>
              <c:showBubbleSize val="0"/>
            </c:dLbl>
            <c:dLbl>
              <c:idx val="5"/>
              <c:tx>
                <c:rich>
                  <a:bodyPr/>
                  <a:lstStyle/>
                  <a:p>
                    <a:r>
                      <a:t>271.17</a:t>
                    </a:r>
                  </a:p>
                </c:rich>
              </c:tx>
              <c:showLegendKey val="0"/>
              <c:showVal val="1"/>
              <c:showCatName val="0"/>
              <c:showSerName val="0"/>
              <c:showPercent val="0"/>
              <c:showBubbleSize val="0"/>
            </c:dLbl>
            <c:dLbl>
              <c:idx val="6"/>
              <c:tx>
                <c:rich>
                  <a:bodyPr/>
                  <a:lstStyle/>
                  <a:p>
                    <a:r>
                      <a:t>227.46</a:t>
                    </a:r>
                  </a:p>
                </c:rich>
              </c:tx>
              <c:showLegendKey val="0"/>
              <c:showVal val="1"/>
              <c:showCatName val="0"/>
              <c:showSerName val="0"/>
              <c:showPercent val="0"/>
              <c:showBubbleSize val="0"/>
            </c:dLbl>
            <c:dLbl>
              <c:idx val="7"/>
              <c:tx>
                <c:rich>
                  <a:bodyPr/>
                  <a:lstStyle/>
                  <a:p>
                    <a:r>
                      <a:t>271.03</a:t>
                    </a:r>
                  </a:p>
                </c:rich>
              </c:tx>
              <c:showLegendKey val="0"/>
              <c:showVal val="1"/>
              <c:showCatName val="0"/>
              <c:showSerName val="0"/>
              <c:showPercent val="0"/>
              <c:showBubbleSize val="0"/>
            </c:dLbl>
            <c:dLbl>
              <c:idx val="8"/>
              <c:tx>
                <c:rich>
                  <a:bodyPr/>
                  <a:lstStyle/>
                  <a:p>
                    <a:r>
                      <a:t>254.56</a:t>
                    </a:r>
                  </a:p>
                </c:rich>
              </c:tx>
              <c:showLegendKey val="0"/>
              <c:showVal val="1"/>
              <c:showCatName val="0"/>
              <c:showSerName val="0"/>
              <c:showPercent val="0"/>
              <c:showBubbleSize val="0"/>
            </c:dLbl>
            <c:dLbl>
              <c:idx val="9"/>
              <c:tx>
                <c:rich>
                  <a:bodyPr/>
                  <a:lstStyle/>
                  <a:p>
                    <a:r>
                      <a:t>288.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Baby Sunscreen Baby Cosmetics Crema 50+ 240Ml</c:v>
                </c:pt>
                <c:pt idx="4">
                  <c:v>Beiersdorf Nivea Sunscreen Adults Cosmetics Crema 50+ 200Ml</c:v>
                </c:pt>
                <c:pt idx="5">
                  <c:v>Beiersdorf Nivea Sunscreen Adults Cosmetics Crema 50 50Ml</c:v>
                </c:pt>
                <c:pt idx="6">
                  <c:v>L'Oreal Garnier Sunscreen Adults Cosmetics Crema 50+ 40Ml</c:v>
                </c:pt>
                <c:pt idx="7">
                  <c:v>Beiersdorf Nivea Sunscreen Adults Cosmetics Crema 50+ 40Ml</c:v>
                </c:pt>
                <c:pt idx="8">
                  <c:v>Beiersdorf Nivea Sunscreen Adults Cosmetics Crema 50+ 50Ml</c:v>
                </c:pt>
                <c:pt idx="9">
                  <c:v>Beiersdorf Nivea Sunscreen Adults Cosmetics Crema 30 - 49 200Ml</c:v>
                </c:pt>
              </c:strCache>
            </c:strRef>
          </c:cat>
          <c:val>
            <c:numRef>
              <c:f>Sheet1!$B$2:$B$11</c:f>
              <c:numCache>
                <c:formatCode>General</c:formatCode>
                <c:ptCount val="10"/>
                <c:pt idx="0">
                  <c:v>312.14</c:v>
                </c:pt>
                <c:pt idx="1">
                  <c:v>189.54</c:v>
                </c:pt>
                <c:pt idx="2">
                  <c:v>300.48</c:v>
                </c:pt>
                <c:pt idx="3">
                  <c:v>264.11</c:v>
                </c:pt>
                <c:pt idx="4">
                  <c:v>305.54</c:v>
                </c:pt>
                <c:pt idx="5">
                  <c:v>271.17</c:v>
                </c:pt>
                <c:pt idx="6">
                  <c:v>227.46</c:v>
                </c:pt>
                <c:pt idx="7">
                  <c:v>271.03</c:v>
                </c:pt>
                <c:pt idx="8">
                  <c:v>254.56</c:v>
                </c:pt>
                <c:pt idx="9">
                  <c:v>28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37</a:t>
                    </a:r>
                  </a:p>
                </c:rich>
              </c:tx>
              <c:dLblPos val="t"/>
              <c:showLegendKey val="0"/>
              <c:showVal val="1"/>
              <c:showCatName val="0"/>
              <c:showSerName val="0"/>
              <c:showPercent val="0"/>
              <c:showBubbleSize val="0"/>
            </c:dLbl>
            <c:dLbl>
              <c:idx val="1"/>
              <c:tx>
                <c:rich>
                  <a:bodyPr/>
                  <a:lstStyle/>
                  <a:p>
                    <a:r>
                      <a:t>327.71</a:t>
                    </a:r>
                  </a:p>
                </c:rich>
              </c:tx>
              <c:dLblPos val="t"/>
              <c:showLegendKey val="0"/>
              <c:showVal val="1"/>
              <c:showCatName val="0"/>
              <c:showSerName val="0"/>
              <c:showPercent val="0"/>
              <c:showBubbleSize val="0"/>
            </c:dLbl>
            <c:dLbl>
              <c:idx val="2"/>
              <c:tx>
                <c:rich>
                  <a:bodyPr/>
                  <a:lstStyle/>
                  <a:p>
                    <a:r>
                      <a:t>332.96</a:t>
                    </a:r>
                  </a:p>
                </c:rich>
              </c:tx>
              <c:dLblPos val="t"/>
              <c:showLegendKey val="0"/>
              <c:showVal val="1"/>
              <c:showCatName val="0"/>
              <c:showSerName val="0"/>
              <c:showPercent val="0"/>
              <c:showBubbleSize val="0"/>
            </c:dLbl>
            <c:dLbl>
              <c:idx val="3"/>
              <c:tx>
                <c:rich>
                  <a:bodyPr/>
                  <a:lstStyle/>
                  <a:p>
                    <a:r>
                      <a:t>81.09</a:t>
                    </a:r>
                  </a:p>
                </c:rich>
              </c:tx>
              <c:dLblPos val="t"/>
              <c:showLegendKey val="0"/>
              <c:showVal val="1"/>
              <c:showCatName val="0"/>
              <c:showSerName val="0"/>
              <c:showPercent val="0"/>
              <c:showBubbleSize val="0"/>
            </c:dLbl>
            <c:dLbl>
              <c:idx val="4"/>
              <c:tx>
                <c:rich>
                  <a:bodyPr/>
                  <a:lstStyle/>
                  <a:p>
                    <a:r>
                      <a:t>319.96</a:t>
                    </a:r>
                  </a:p>
                </c:rich>
              </c:tx>
              <c:dLblPos val="t"/>
              <c:showLegendKey val="0"/>
              <c:showVal val="1"/>
              <c:showCatName val="0"/>
              <c:showSerName val="0"/>
              <c:showPercent val="0"/>
              <c:showBubbleSize val="0"/>
            </c:dLbl>
            <c:dLbl>
              <c:idx val="5"/>
              <c:tx>
                <c:rich>
                  <a:bodyPr/>
                  <a:lstStyle/>
                  <a:p>
                    <a:r>
                      <a:t>345.53</a:t>
                    </a:r>
                  </a:p>
                </c:rich>
              </c:tx>
              <c:dLblPos val="t"/>
              <c:showLegendKey val="0"/>
              <c:showVal val="1"/>
              <c:showCatName val="0"/>
              <c:showSerName val="0"/>
              <c:showPercent val="0"/>
              <c:showBubbleSize val="0"/>
            </c:dLbl>
            <c:dLbl>
              <c:idx val="6"/>
              <c:tx>
                <c:rich>
                  <a:bodyPr/>
                  <a:lstStyle/>
                  <a:p>
                    <a:r>
                      <a:t>398.73</a:t>
                    </a:r>
                  </a:p>
                </c:rich>
              </c:tx>
              <c:dLblPos val="t"/>
              <c:showLegendKey val="0"/>
              <c:showVal val="1"/>
              <c:showCatName val="0"/>
              <c:showSerName val="0"/>
              <c:showPercent val="0"/>
              <c:showBubbleSize val="0"/>
            </c:dLbl>
            <c:dLbl>
              <c:idx val="7"/>
              <c:tx>
                <c:rich>
                  <a:bodyPr/>
                  <a:lstStyle/>
                  <a:p>
                    <a:r>
                      <a:t>343.91</a:t>
                    </a:r>
                  </a:p>
                </c:rich>
              </c:tx>
              <c:dLblPos val="t"/>
              <c:showLegendKey val="0"/>
              <c:showVal val="1"/>
              <c:showCatName val="0"/>
              <c:showSerName val="0"/>
              <c:showPercent val="0"/>
              <c:showBubbleSize val="0"/>
            </c:dLbl>
            <c:dLbl>
              <c:idx val="8"/>
              <c:tx>
                <c:rich>
                  <a:bodyPr/>
                  <a:lstStyle/>
                  <a:p>
                    <a:r>
                      <a:t>102.13</a:t>
                    </a:r>
                  </a:p>
                </c:rich>
              </c:tx>
              <c:dLblPos val="t"/>
              <c:showLegendKey val="0"/>
              <c:showVal val="1"/>
              <c:showCatName val="0"/>
              <c:showSerName val="0"/>
              <c:showPercent val="0"/>
              <c:showBubbleSize val="0"/>
            </c:dLbl>
            <c:dLbl>
              <c:idx val="9"/>
              <c:tx>
                <c:rich>
                  <a:bodyPr/>
                  <a:lstStyle/>
                  <a:p>
                    <a:r>
                      <a:t>257.6</a:t>
                    </a:r>
                  </a:p>
                </c:rich>
              </c:tx>
              <c:dLblPos val="t"/>
              <c:showLegendKey val="0"/>
              <c:showVal val="1"/>
              <c:showCatName val="0"/>
              <c:showSerName val="0"/>
              <c:showPercent val="0"/>
              <c:showBubbleSize val="0"/>
            </c:dLbl>
            <c:dLbl>
              <c:idx val="10"/>
              <c:tx>
                <c:rich>
                  <a:bodyPr/>
                  <a:lstStyle/>
                  <a:p>
                    <a:r>
                      <a:t>345.62</a:t>
                    </a:r>
                  </a:p>
                </c:rich>
              </c:tx>
              <c:dLblPos val="t"/>
              <c:showLegendKey val="0"/>
              <c:showVal val="1"/>
              <c:showCatName val="0"/>
              <c:showSerName val="0"/>
              <c:showPercent val="0"/>
              <c:showBubbleSize val="0"/>
            </c:dLbl>
            <c:dLbl>
              <c:idx val="11"/>
              <c:tx>
                <c:rich>
                  <a:bodyPr/>
                  <a:lstStyle/>
                  <a:p>
                    <a:r>
                      <a:t>342.81</a:t>
                    </a:r>
                  </a:p>
                </c:rich>
              </c:tx>
              <c:dLblPos val="t"/>
              <c:showLegendKey val="0"/>
              <c:showVal val="1"/>
              <c:showCatName val="0"/>
              <c:showSerName val="0"/>
              <c:showPercent val="0"/>
              <c:showBubbleSize val="0"/>
            </c:dLbl>
            <c:dLbl>
              <c:idx val="12"/>
              <c:tx>
                <c:rich>
                  <a:bodyPr/>
                  <a:lstStyle/>
                  <a:p>
                    <a:r>
                      <a:t>349.39</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156.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Spray Liquido 50+ 170Ml</c:v>
                </c:pt>
                <c:pt idx="2">
                  <c:v>Edgewell Banana Boat Dry Balance Sunscreen Adults Sport Spray Liquido 50 220Ml</c:v>
                </c:pt>
                <c:pt idx="3">
                  <c:v>Edgewell Banana Boat Advanced Protection Sunscreen Adults Cosmetics Liquido 50+ 60Ml</c:v>
                </c:pt>
                <c:pt idx="4">
                  <c:v>Edgewell Banana Boat Advanced Protection Sunscreen Adults Cosmetics Liquido 50+ 240Ml</c:v>
                </c:pt>
                <c:pt idx="5">
                  <c:v>Edgewell Banana Boat Mineral Sunscreen Kids Cosmetics Locion 50 180Ml</c:v>
                </c:pt>
                <c:pt idx="6">
                  <c:v>Edgewell Banana Boat Banded Pack Banded Pack 2X Sunscreen Multi 50+ 170Ml</c:v>
                </c:pt>
                <c:pt idx="7">
                  <c:v>Edgewell Banana Boat Mineral Sunscreen Adults Sport Locion 50 180Ml</c:v>
                </c:pt>
                <c:pt idx="8">
                  <c:v>Edgewell Banana Boat Dry Balance Sunscreen Adults Sport Locion 50+ 60Ml</c:v>
                </c:pt>
                <c:pt idx="9">
                  <c:v>Edgewell Banana Boat Dry Balance Sunscreen Adults Cosmetics Spray Crema 50+ 220Ml</c:v>
                </c:pt>
                <c:pt idx="10">
                  <c:v>Edgewell Banana Boat Mineral Sunscreen Adults Cosmetics Locion 50 180Ml</c:v>
                </c:pt>
                <c:pt idx="11">
                  <c:v>Edgewell Banana Boat Aqua Protect Sunscreen Adults Cosmetics Crema 50+ 236Ml</c:v>
                </c:pt>
                <c:pt idx="12">
                  <c:v>Edgewell Banana Boat Dry Balance Sunscreen Adults Sport Crema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37.37</c:v>
                </c:pt>
                <c:pt idx="1">
                  <c:v>327.71</c:v>
                </c:pt>
                <c:pt idx="2">
                  <c:v>332.96</c:v>
                </c:pt>
                <c:pt idx="3">
                  <c:v>81.09</c:v>
                </c:pt>
                <c:pt idx="4">
                  <c:v>319.96</c:v>
                </c:pt>
                <c:pt idx="5">
                  <c:v>345.53</c:v>
                </c:pt>
                <c:pt idx="6">
                  <c:v>398.73</c:v>
                </c:pt>
                <c:pt idx="7">
                  <c:v>343.91</c:v>
                </c:pt>
                <c:pt idx="8">
                  <c:v>102.13</c:v>
                </c:pt>
                <c:pt idx="9">
                  <c:v>257.6</c:v>
                </c:pt>
                <c:pt idx="10">
                  <c:v>345.62</c:v>
                </c:pt>
                <c:pt idx="11">
                  <c:v>342.81</c:v>
                </c:pt>
                <c:pt idx="12">
                  <c:v>349.39</c:v>
                </c:pt>
                <c:pt idx="13">
                  <c:v>330.0</c:v>
                </c:pt>
                <c:pt idx="14">
                  <c:v>15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0.34</a:t>
                    </a:r>
                  </a:p>
                </c:rich>
              </c:tx>
              <c:showLegendKey val="0"/>
              <c:showVal val="1"/>
              <c:showCatName val="0"/>
              <c:showSerName val="0"/>
              <c:showPercent val="0"/>
              <c:showBubbleSize val="0"/>
            </c:dLbl>
            <c:dLbl>
              <c:idx val="1"/>
              <c:tx>
                <c:rich>
                  <a:bodyPr/>
                  <a:lstStyle/>
                  <a:p>
                    <a:r>
                      <a:t>260.99</a:t>
                    </a:r>
                  </a:p>
                </c:rich>
              </c:tx>
              <c:showLegendKey val="0"/>
              <c:showVal val="1"/>
              <c:showCatName val="0"/>
              <c:showSerName val="0"/>
              <c:showPercent val="0"/>
              <c:showBubbleSize val="0"/>
            </c:dLbl>
            <c:dLbl>
              <c:idx val="2"/>
              <c:tx>
                <c:rich>
                  <a:bodyPr/>
                  <a:lstStyle/>
                  <a:p>
                    <a:r>
                      <a:t>274.45</a:t>
                    </a:r>
                  </a:p>
                </c:rich>
              </c:tx>
              <c:showLegendKey val="0"/>
              <c:showVal val="1"/>
              <c:showCatName val="0"/>
              <c:showSerName val="0"/>
              <c:showPercent val="0"/>
              <c:showBubbleSize val="0"/>
            </c:dLbl>
            <c:dLbl>
              <c:idx val="3"/>
              <c:tx>
                <c:rich>
                  <a:bodyPr/>
                  <a:lstStyle/>
                  <a:p>
                    <a:r>
                      <a:t>268.2</a:t>
                    </a:r>
                  </a:p>
                </c:rich>
              </c:tx>
              <c:showLegendKey val="0"/>
              <c:showVal val="1"/>
              <c:showCatName val="0"/>
              <c:showSerName val="0"/>
              <c:showPercent val="0"/>
              <c:showBubbleSize val="0"/>
            </c:dLbl>
            <c:dLbl>
              <c:idx val="4"/>
              <c:tx>
                <c:rich>
                  <a:bodyPr/>
                  <a:lstStyle/>
                  <a:p>
                    <a:r>
                      <a:t>305.54</a:t>
                    </a:r>
                  </a:p>
                </c:rich>
              </c:tx>
              <c:showLegendKey val="0"/>
              <c:showVal val="1"/>
              <c:showCatName val="0"/>
              <c:showSerName val="0"/>
              <c:showPercent val="0"/>
              <c:showBubbleSize val="0"/>
            </c:dLbl>
            <c:dLbl>
              <c:idx val="5"/>
              <c:tx>
                <c:rich>
                  <a:bodyPr/>
                  <a:lstStyle/>
                  <a:p>
                    <a:r>
                      <a:t>271.17</a:t>
                    </a:r>
                  </a:p>
                </c:rich>
              </c:tx>
              <c:showLegendKey val="0"/>
              <c:showVal val="1"/>
              <c:showCatName val="0"/>
              <c:showSerName val="0"/>
              <c:showPercent val="0"/>
              <c:showBubbleSize val="0"/>
            </c:dLbl>
            <c:dLbl>
              <c:idx val="6"/>
              <c:tx>
                <c:rich>
                  <a:bodyPr/>
                  <a:lstStyle/>
                  <a:p>
                    <a:r>
                      <a:t>227.46</a:t>
                    </a:r>
                  </a:p>
                </c:rich>
              </c:tx>
              <c:showLegendKey val="0"/>
              <c:showVal val="1"/>
              <c:showCatName val="0"/>
              <c:showSerName val="0"/>
              <c:showPercent val="0"/>
              <c:showBubbleSize val="0"/>
            </c:dLbl>
            <c:dLbl>
              <c:idx val="7"/>
              <c:tx>
                <c:rich>
                  <a:bodyPr/>
                  <a:lstStyle/>
                  <a:p>
                    <a:r>
                      <a:t>271.03</a:t>
                    </a:r>
                  </a:p>
                </c:rich>
              </c:tx>
              <c:showLegendKey val="0"/>
              <c:showVal val="1"/>
              <c:showCatName val="0"/>
              <c:showSerName val="0"/>
              <c:showPercent val="0"/>
              <c:showBubbleSize val="0"/>
            </c:dLbl>
            <c:dLbl>
              <c:idx val="8"/>
              <c:tx>
                <c:rich>
                  <a:bodyPr/>
                  <a:lstStyle/>
                  <a:p>
                    <a:r>
                      <a:t>254.56</a:t>
                    </a:r>
                  </a:p>
                </c:rich>
              </c:tx>
              <c:showLegendKey val="0"/>
              <c:showVal val="1"/>
              <c:showCatName val="0"/>
              <c:showSerName val="0"/>
              <c:showPercent val="0"/>
              <c:showBubbleSize val="0"/>
            </c:dLbl>
            <c:dLbl>
              <c:idx val="9"/>
              <c:tx>
                <c:rich>
                  <a:bodyPr/>
                  <a:lstStyle/>
                  <a:p>
                    <a:r>
                      <a:t>288.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qua Protect Sunscreen Adults Cosmetics Crema 50+ 236Ml</c:v>
                </c:pt>
                <c:pt idx="1">
                  <c:v>Edgewell Banana Boat Kids Sport Sunscreen Kids Cosmetics Crema 50 180Ml</c:v>
                </c:pt>
                <c:pt idx="2">
                  <c:v>Edgewell Banana Boat Bloqueador Sunscreen Adults Cosmetics Crema 50 236Ml</c:v>
                </c:pt>
                <c:pt idx="3">
                  <c:v>Edgewell Banana Boat Dry Balance Sunscreen Adults Cosmetics Crema 50+ 180Ml</c:v>
                </c:pt>
                <c:pt idx="4">
                  <c:v>Beiersdorf Nivea Sunscreen Adults Cosmetics Crema 50+ 200Ml</c:v>
                </c:pt>
                <c:pt idx="5">
                  <c:v>Beiersdorf Nivea Sunscreen Adults Cosmetics Crema 50 50Ml</c:v>
                </c:pt>
                <c:pt idx="6">
                  <c:v>L'Oreal Garnier Sunscreen Adults Cosmetics Crema 50+ 40Ml</c:v>
                </c:pt>
                <c:pt idx="7">
                  <c:v>Beiersdorf Nivea Sunscreen Adults Cosmetics Crema 50+ 40Ml</c:v>
                </c:pt>
                <c:pt idx="8">
                  <c:v>Beiersdorf Nivea Sunscreen Adults Cosmetics Crema 50+ 50Ml</c:v>
                </c:pt>
                <c:pt idx="9">
                  <c:v>Beiersdorf Nivea Sunscreen Adults Cosmetics Crema 30 - 49 200Ml</c:v>
                </c:pt>
              </c:strCache>
            </c:strRef>
          </c:cat>
          <c:val>
            <c:numRef>
              <c:f>Sheet1!$B$2:$B$11</c:f>
              <c:numCache>
                <c:formatCode>General</c:formatCode>
                <c:ptCount val="10"/>
                <c:pt idx="0">
                  <c:v>290.34</c:v>
                </c:pt>
                <c:pt idx="1">
                  <c:v>260.99</c:v>
                </c:pt>
                <c:pt idx="2">
                  <c:v>274.45</c:v>
                </c:pt>
                <c:pt idx="3">
                  <c:v>268.2</c:v>
                </c:pt>
                <c:pt idx="4">
                  <c:v>305.54</c:v>
                </c:pt>
                <c:pt idx="5">
                  <c:v>271.17</c:v>
                </c:pt>
                <c:pt idx="6">
                  <c:v>227.46</c:v>
                </c:pt>
                <c:pt idx="7">
                  <c:v>271.03</c:v>
                </c:pt>
                <c:pt idx="8">
                  <c:v>254.56</c:v>
                </c:pt>
                <c:pt idx="9">
                  <c:v>28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2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4.74</c:v>
                </c:pt>
                <c:pt idx="1">
                  <c:v>306.26</c:v>
                </c:pt>
                <c:pt idx="2">
                  <c:v>2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101.15</a:t>
                    </a:r>
                  </a:p>
                </c:rich>
              </c:tx>
              <c:showLegendKey val="0"/>
              <c:showVal val="1"/>
              <c:showCatName val="0"/>
              <c:showSerName val="0"/>
              <c:showPercent val="0"/>
              <c:showBubbleSize val="0"/>
            </c:dLbl>
            <c:dLbl>
              <c:idx val="2"/>
              <c:tx>
                <c:rich>
                  <a:bodyPr/>
                  <a:lstStyle/>
                  <a:p>
                    <a:r>
                      <a:t>330.69</a:t>
                    </a:r>
                  </a:p>
                </c:rich>
              </c:tx>
              <c:showLegendKey val="0"/>
              <c:showVal val="1"/>
              <c:showCatName val="0"/>
              <c:showSerName val="0"/>
              <c:showPercent val="0"/>
              <c:showBubbleSize val="0"/>
            </c:dLbl>
            <c:dLbl>
              <c:idx val="3"/>
              <c:tx>
                <c:rich>
                  <a:bodyPr/>
                  <a:lstStyle/>
                  <a:p>
                    <a:r>
                      <a:t>301.91</a:t>
                    </a:r>
                  </a:p>
                </c:rich>
              </c:tx>
              <c:showLegendKey val="0"/>
              <c:showVal val="1"/>
              <c:showCatName val="0"/>
              <c:showSerName val="0"/>
              <c:showPercent val="0"/>
              <c:showBubbleSize val="0"/>
            </c:dLbl>
            <c:dLbl>
              <c:idx val="4"/>
              <c:tx>
                <c:rich>
                  <a:bodyPr/>
                  <a:lstStyle/>
                  <a:p>
                    <a:r>
                      <a:t>194.2</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00.66</a:t>
                    </a:r>
                  </a:p>
                </c:rich>
              </c:tx>
              <c:showLegendKey val="0"/>
              <c:showVal val="1"/>
              <c:showCatName val="0"/>
              <c:showSerName val="0"/>
              <c:showPercent val="0"/>
              <c:showBubbleSize val="0"/>
            </c:dLbl>
            <c:dLbl>
              <c:idx val="8"/>
              <c:tx>
                <c:rich>
                  <a:bodyPr/>
                  <a:lstStyle/>
                  <a:p>
                    <a:r>
                      <a:t>187.83</a:t>
                    </a:r>
                  </a:p>
                </c:rich>
              </c:tx>
              <c:showLegendKey val="0"/>
              <c:showVal val="1"/>
              <c:showCatName val="0"/>
              <c:showSerName val="0"/>
              <c:showPercent val="0"/>
              <c:showBubbleSize val="0"/>
            </c:dLbl>
            <c:dLbl>
              <c:idx val="9"/>
              <c:tx>
                <c:rich>
                  <a:bodyPr/>
                  <a:lstStyle/>
                  <a:p>
                    <a:r>
                      <a:t>336.27</a:t>
                    </a:r>
                  </a:p>
                </c:rich>
              </c:tx>
              <c:showLegendKey val="0"/>
              <c:showVal val="1"/>
              <c:showCatName val="0"/>
              <c:showSerName val="0"/>
              <c:showPercent val="0"/>
              <c:showBubbleSize val="0"/>
            </c:dLbl>
            <c:dLbl>
              <c:idx val="10"/>
              <c:tx>
                <c:rich>
                  <a:bodyPr/>
                  <a:lstStyle/>
                  <a:p>
                    <a:r>
                      <a:t>292.54</a:t>
                    </a:r>
                  </a:p>
                </c:rich>
              </c:tx>
              <c:showLegendKey val="0"/>
              <c:showVal val="1"/>
              <c:showCatName val="0"/>
              <c:showSerName val="0"/>
              <c:showPercent val="0"/>
              <c:showBubbleSize val="0"/>
            </c:dLbl>
            <c:dLbl>
              <c:idx val="11"/>
              <c:tx>
                <c:rich>
                  <a:bodyPr/>
                  <a:lstStyle/>
                  <a:p>
                    <a:r>
                      <a:t>266.74</a:t>
                    </a:r>
                  </a:p>
                </c:rich>
              </c:tx>
              <c:showLegendKey val="0"/>
              <c:showVal val="1"/>
              <c:showCatName val="0"/>
              <c:showSerName val="0"/>
              <c:showPercent val="0"/>
              <c:showBubbleSize val="0"/>
            </c:dLbl>
            <c:dLbl>
              <c:idx val="12"/>
              <c:tx>
                <c:rich>
                  <a:bodyPr/>
                  <a:lstStyle/>
                  <a:p>
                    <a:r>
                      <a:t>252.24</a:t>
                    </a:r>
                  </a:p>
                </c:rich>
              </c:tx>
              <c:showLegendKey val="0"/>
              <c:showVal val="1"/>
              <c:showCatName val="0"/>
              <c:showSerName val="0"/>
              <c:showPercent val="0"/>
              <c:showBubbleSize val="0"/>
            </c:dLbl>
            <c:dLbl>
              <c:idx val="13"/>
              <c:tx>
                <c:rich>
                  <a:bodyPr/>
                  <a:lstStyle/>
                  <a:p>
                    <a:r>
                      <a:t>164.78</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104.73</a:t>
                    </a:r>
                  </a:p>
                </c:rich>
              </c:tx>
              <c:showLegendKey val="0"/>
              <c:showVal val="1"/>
              <c:showCatName val="0"/>
              <c:showSerName val="0"/>
              <c:showPercent val="0"/>
              <c:showBubbleSize val="0"/>
            </c:dLbl>
            <c:dLbl>
              <c:idx val="16"/>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zono Sunscreen Adults Cosmetics Liquido 50+ 240Ml</c:v>
                </c:pt>
                <c:pt idx="1">
                  <c:v>Edgewell Hawaiian Tropic Ozono Sunscreen Adults Cosmetics Liquido 50+ 90Ml</c:v>
                </c:pt>
                <c:pt idx="2">
                  <c:v>Edgewell Hawaiian Tropic Ozono Sunscreen Adults Cosmetics Spray Liquido 50+ 180Ml</c:v>
                </c:pt>
                <c:pt idx="3">
                  <c:v>Edgewell Hawaiian Tropic Silk Hydration Sunscreen Adults Cosmetics Liquido 50 180Ml</c:v>
                </c:pt>
                <c:pt idx="4">
                  <c:v>Edgewell Hawaiian Tropic Ozono Sunscreen Adults Cosmetics Liquido 50+ 12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Adults Cosmetics Liquido 30 - 49 200Ml</c:v>
                </c:pt>
                <c:pt idx="12">
                  <c:v>Others Fabricante Unif. Others Marca Unif. Sunscreen Adults Cosmetics Liquido 30 50Ml</c:v>
                </c:pt>
                <c:pt idx="13">
                  <c:v>Others Fabricante Unif. Others Marca Unif. Sunscreen Kids Cosmetics Liquido 50 100Ml</c:v>
                </c:pt>
                <c:pt idx="14">
                  <c:v>Others Fabricante Unif. Others Marca Unif. Sunscreen Adults Cosmetics Spray Liquido 50 200Ml</c:v>
                </c:pt>
                <c:pt idx="15">
                  <c:v>Others Fabricante Unif. Others Marca Unif. Sunscreen Adults Cosmetics Spray Liquido 50 70Ml</c:v>
                </c:pt>
                <c:pt idx="16">
                  <c:v>Others Fabricante Unif. Others Marca Unif. Sunscreen Adults Cosmetics Spray Liquido 50 50Ml</c:v>
                </c:pt>
              </c:strCache>
            </c:strRef>
          </c:cat>
          <c:val>
            <c:numRef>
              <c:f>Sheet1!$B$2:$B$18</c:f>
              <c:numCache>
                <c:formatCode>General</c:formatCode>
                <c:ptCount val="17"/>
                <c:pt idx="0">
                  <c:v>305.12</c:v>
                </c:pt>
                <c:pt idx="1">
                  <c:v>101.15</c:v>
                </c:pt>
                <c:pt idx="2">
                  <c:v>330.69</c:v>
                </c:pt>
                <c:pt idx="3">
                  <c:v>301.91</c:v>
                </c:pt>
                <c:pt idx="4">
                  <c:v>194.2</c:v>
                </c:pt>
                <c:pt idx="5">
                  <c:v>287.0</c:v>
                </c:pt>
                <c:pt idx="6">
                  <c:v>287.0</c:v>
                </c:pt>
                <c:pt idx="7">
                  <c:v>300.66</c:v>
                </c:pt>
                <c:pt idx="8">
                  <c:v>187.83</c:v>
                </c:pt>
                <c:pt idx="9">
                  <c:v>336.27</c:v>
                </c:pt>
                <c:pt idx="10">
                  <c:v>292.54</c:v>
                </c:pt>
                <c:pt idx="11">
                  <c:v>266.74</c:v>
                </c:pt>
                <c:pt idx="12">
                  <c:v>252.24</c:v>
                </c:pt>
                <c:pt idx="13">
                  <c:v>164.78</c:v>
                </c:pt>
                <c:pt idx="14">
                  <c:v>299.0</c:v>
                </c:pt>
                <c:pt idx="15">
                  <c:v>104.73</c:v>
                </c:pt>
                <c:pt idx="16">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88</a:t>
                    </a:r>
                  </a:p>
                </c:rich>
              </c:tx>
              <c:showLegendKey val="0"/>
              <c:showVal val="1"/>
              <c:showCatName val="0"/>
              <c:showSerName val="0"/>
              <c:showPercent val="0"/>
              <c:showBubbleSize val="0"/>
            </c:dLbl>
            <c:dLbl>
              <c:idx val="1"/>
              <c:tx>
                <c:rich>
                  <a:bodyPr/>
                  <a:lstStyle/>
                  <a:p>
                    <a:r>
                      <a:t>312.87</a:t>
                    </a:r>
                  </a:p>
                </c:rich>
              </c:tx>
              <c:showLegendKey val="0"/>
              <c:showVal val="1"/>
              <c:showCatName val="0"/>
              <c:showSerName val="0"/>
              <c:showPercent val="0"/>
              <c:showBubbleSize val="0"/>
            </c:dLbl>
            <c:dLbl>
              <c:idx val="2"/>
              <c:tx>
                <c:rich>
                  <a:bodyPr/>
                  <a:lstStyle/>
                  <a:p>
                    <a:r>
                      <a:t>85.64</a:t>
                    </a:r>
                  </a:p>
                </c:rich>
              </c:tx>
              <c:showLegendKey val="0"/>
              <c:showVal val="1"/>
              <c:showCatName val="0"/>
              <c:showSerName val="0"/>
              <c:showPercent val="0"/>
              <c:showBubbleSize val="0"/>
            </c:dLbl>
            <c:dLbl>
              <c:idx val="3"/>
              <c:tx>
                <c:rich>
                  <a:bodyPr/>
                  <a:lstStyle/>
                  <a:p>
                    <a:r>
                      <a:t>254.2</a:t>
                    </a:r>
                  </a:p>
                </c:rich>
              </c:tx>
              <c:showLegendKey val="0"/>
              <c:showVal val="1"/>
              <c:showCatName val="0"/>
              <c:showSerName val="0"/>
              <c:showPercent val="0"/>
              <c:showBubbleSize val="0"/>
            </c:dLbl>
            <c:dLbl>
              <c:idx val="4"/>
              <c:tx>
                <c:rich>
                  <a:bodyPr/>
                  <a:lstStyle/>
                  <a:p>
                    <a:r>
                      <a:t>270.88</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287.0</a:t>
                    </a:r>
                  </a:p>
                </c:rich>
              </c:tx>
              <c:showLegendKey val="0"/>
              <c:showVal val="1"/>
              <c:showCatName val="0"/>
              <c:showSerName val="0"/>
              <c:showPercent val="0"/>
              <c:showBubbleSize val="0"/>
            </c:dLbl>
            <c:dLbl>
              <c:idx val="7"/>
              <c:tx>
                <c:rich>
                  <a:bodyPr/>
                  <a:lstStyle/>
                  <a:p>
                    <a:r>
                      <a:t>300.66</a:t>
                    </a:r>
                  </a:p>
                </c:rich>
              </c:tx>
              <c:showLegendKey val="0"/>
              <c:showVal val="1"/>
              <c:showCatName val="0"/>
              <c:showSerName val="0"/>
              <c:showPercent val="0"/>
              <c:showBubbleSize val="0"/>
            </c:dLbl>
            <c:dLbl>
              <c:idx val="8"/>
              <c:tx>
                <c:rich>
                  <a:bodyPr/>
                  <a:lstStyle/>
                  <a:p>
                    <a:r>
                      <a:t>187.83</a:t>
                    </a:r>
                  </a:p>
                </c:rich>
              </c:tx>
              <c:showLegendKey val="0"/>
              <c:showVal val="1"/>
              <c:showCatName val="0"/>
              <c:showSerName val="0"/>
              <c:showPercent val="0"/>
              <c:showBubbleSize val="0"/>
            </c:dLbl>
            <c:dLbl>
              <c:idx val="9"/>
              <c:tx>
                <c:rich>
                  <a:bodyPr/>
                  <a:lstStyle/>
                  <a:p>
                    <a:r>
                      <a:t>336.27</a:t>
                    </a:r>
                  </a:p>
                </c:rich>
              </c:tx>
              <c:showLegendKey val="0"/>
              <c:showVal val="1"/>
              <c:showCatName val="0"/>
              <c:showSerName val="0"/>
              <c:showPercent val="0"/>
              <c:showBubbleSize val="0"/>
            </c:dLbl>
            <c:dLbl>
              <c:idx val="10"/>
              <c:tx>
                <c:rich>
                  <a:bodyPr/>
                  <a:lstStyle/>
                  <a:p>
                    <a:r>
                      <a:t>292.54</a:t>
                    </a:r>
                  </a:p>
                </c:rich>
              </c:tx>
              <c:showLegendKey val="0"/>
              <c:showVal val="1"/>
              <c:showCatName val="0"/>
              <c:showSerName val="0"/>
              <c:showPercent val="0"/>
              <c:showBubbleSize val="0"/>
            </c:dLbl>
            <c:dLbl>
              <c:idx val="11"/>
              <c:tx>
                <c:rich>
                  <a:bodyPr/>
                  <a:lstStyle/>
                  <a:p>
                    <a:r>
                      <a:t>266.74</a:t>
                    </a:r>
                  </a:p>
                </c:rich>
              </c:tx>
              <c:showLegendKey val="0"/>
              <c:showVal val="1"/>
              <c:showCatName val="0"/>
              <c:showSerName val="0"/>
              <c:showPercent val="0"/>
              <c:showBubbleSize val="0"/>
            </c:dLbl>
            <c:dLbl>
              <c:idx val="12"/>
              <c:tx>
                <c:rich>
                  <a:bodyPr/>
                  <a:lstStyle/>
                  <a:p>
                    <a:r>
                      <a:t>252.24</a:t>
                    </a:r>
                  </a:p>
                </c:rich>
              </c:tx>
              <c:showLegendKey val="0"/>
              <c:showVal val="1"/>
              <c:showCatName val="0"/>
              <c:showSerName val="0"/>
              <c:showPercent val="0"/>
              <c:showBubbleSize val="0"/>
            </c:dLbl>
            <c:dLbl>
              <c:idx val="13"/>
              <c:tx>
                <c:rich>
                  <a:bodyPr/>
                  <a:lstStyle/>
                  <a:p>
                    <a:r>
                      <a:t>164.78</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104.73</a:t>
                    </a:r>
                  </a:p>
                </c:rich>
              </c:tx>
              <c:showLegendKey val="0"/>
              <c:showVal val="1"/>
              <c:showCatName val="0"/>
              <c:showSerName val="0"/>
              <c:showPercent val="0"/>
              <c:showBubbleSize val="0"/>
            </c:dLbl>
            <c:dLbl>
              <c:idx val="16"/>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Advanced Protection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180Ml</c:v>
                </c:pt>
                <c:pt idx="4">
                  <c:v>Edgewell Banana Boat Gentle Protect Sunscreen Kids Cosmetics Spray Liquido 50+ 180Ml</c:v>
                </c:pt>
                <c:pt idx="5">
                  <c:v>Australian Gold Australian Gold Sunscreen Adults Cosmetics Liquido 50 237Ml</c:v>
                </c:pt>
                <c:pt idx="6">
                  <c:v>Australian Gold Australian Gold Sunscreen Kids Cosmetics Liquido 50 20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Adults Cosmetics Liquido 30 - 49 200Ml</c:v>
                </c:pt>
                <c:pt idx="12">
                  <c:v>Others Fabricante Unif. Others Marca Unif. Sunscreen Adults Cosmetics Liquido 30 50Ml</c:v>
                </c:pt>
                <c:pt idx="13">
                  <c:v>Others Fabricante Unif. Others Marca Unif. Sunscreen Kids Cosmetics Liquido 50 100Ml</c:v>
                </c:pt>
                <c:pt idx="14">
                  <c:v>Others Fabricante Unif. Others Marca Unif. Sunscreen Adults Cosmetics Spray Liquido 50 200Ml</c:v>
                </c:pt>
                <c:pt idx="15">
                  <c:v>Others Fabricante Unif. Others Marca Unif. Sunscreen Adults Cosmetics Spray Liquido 50 70Ml</c:v>
                </c:pt>
                <c:pt idx="16">
                  <c:v>Others Fabricante Unif. Others Marca Unif. Sunscreen Adults Cosmetics Spray Liquido 50 50Ml</c:v>
                </c:pt>
              </c:strCache>
            </c:strRef>
          </c:cat>
          <c:val>
            <c:numRef>
              <c:f>Sheet1!$B$2:$B$18</c:f>
              <c:numCache>
                <c:formatCode>General</c:formatCode>
                <c:ptCount val="17"/>
                <c:pt idx="0">
                  <c:v>298.88</c:v>
                </c:pt>
                <c:pt idx="1">
                  <c:v>312.87</c:v>
                </c:pt>
                <c:pt idx="2">
                  <c:v>85.64</c:v>
                </c:pt>
                <c:pt idx="3">
                  <c:v>254.2</c:v>
                </c:pt>
                <c:pt idx="4">
                  <c:v>270.88</c:v>
                </c:pt>
                <c:pt idx="5">
                  <c:v>287.0</c:v>
                </c:pt>
                <c:pt idx="6">
                  <c:v>287.0</c:v>
                </c:pt>
                <c:pt idx="7">
                  <c:v>300.66</c:v>
                </c:pt>
                <c:pt idx="8">
                  <c:v>187.83</c:v>
                </c:pt>
                <c:pt idx="9">
                  <c:v>336.27</c:v>
                </c:pt>
                <c:pt idx="10">
                  <c:v>292.54</c:v>
                </c:pt>
                <c:pt idx="11">
                  <c:v>266.74</c:v>
                </c:pt>
                <c:pt idx="12">
                  <c:v>252.24</c:v>
                </c:pt>
                <c:pt idx="13">
                  <c:v>164.78</c:v>
                </c:pt>
                <c:pt idx="14">
                  <c:v>299.0</c:v>
                </c:pt>
                <c:pt idx="15">
                  <c:v>104.73</c:v>
                </c:pt>
                <c:pt idx="16">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287.0</a:t>
                    </a:r>
                  </a:p>
                </c:rich>
              </c:tx>
              <c:showLegendKey val="0"/>
              <c:showVal val="1"/>
              <c:showCatName val="0"/>
              <c:showSerName val="0"/>
              <c:showPercent val="0"/>
              <c:showBubbleSize val="0"/>
            </c:dLbl>
            <c:dLbl>
              <c:idx val="5"/>
              <c:tx>
                <c:rich>
                  <a:bodyPr/>
                  <a:lstStyle/>
                  <a:p>
                    <a:r>
                      <a:t>287.0</a:t>
                    </a:r>
                  </a:p>
                </c:rich>
              </c:tx>
              <c:showLegendKey val="0"/>
              <c:showVal val="1"/>
              <c:showCatName val="0"/>
              <c:showSerName val="0"/>
              <c:showPercent val="0"/>
              <c:showBubbleSize val="0"/>
            </c:dLbl>
            <c:dLbl>
              <c:idx val="6"/>
              <c:tx>
                <c:rich>
                  <a:bodyPr/>
                  <a:lstStyle/>
                  <a:p>
                    <a:r>
                      <a:t>300.66</a:t>
                    </a:r>
                  </a:p>
                </c:rich>
              </c:tx>
              <c:showLegendKey val="0"/>
              <c:showVal val="1"/>
              <c:showCatName val="0"/>
              <c:showSerName val="0"/>
              <c:showPercent val="0"/>
              <c:showBubbleSize val="0"/>
            </c:dLbl>
            <c:dLbl>
              <c:idx val="7"/>
              <c:tx>
                <c:rich>
                  <a:bodyPr/>
                  <a:lstStyle/>
                  <a:p>
                    <a:r>
                      <a:t>187.83</a:t>
                    </a:r>
                  </a:p>
                </c:rich>
              </c:tx>
              <c:showLegendKey val="0"/>
              <c:showVal val="1"/>
              <c:showCatName val="0"/>
              <c:showSerName val="0"/>
              <c:showPercent val="0"/>
              <c:showBubbleSize val="0"/>
            </c:dLbl>
            <c:dLbl>
              <c:idx val="8"/>
              <c:tx>
                <c:rich>
                  <a:bodyPr/>
                  <a:lstStyle/>
                  <a:p>
                    <a:r>
                      <a:t>336.27</a:t>
                    </a:r>
                  </a:p>
                </c:rich>
              </c:tx>
              <c:showLegendKey val="0"/>
              <c:showVal val="1"/>
              <c:showCatName val="0"/>
              <c:showSerName val="0"/>
              <c:showPercent val="0"/>
              <c:showBubbleSize val="0"/>
            </c:dLbl>
            <c:dLbl>
              <c:idx val="9"/>
              <c:tx>
                <c:rich>
                  <a:bodyPr/>
                  <a:lstStyle/>
                  <a:p>
                    <a:r>
                      <a:t>292.54</a:t>
                    </a:r>
                  </a:p>
                </c:rich>
              </c:tx>
              <c:showLegendKey val="0"/>
              <c:showVal val="1"/>
              <c:showCatName val="0"/>
              <c:showSerName val="0"/>
              <c:showPercent val="0"/>
              <c:showBubbleSize val="0"/>
            </c:dLbl>
            <c:dLbl>
              <c:idx val="10"/>
              <c:tx>
                <c:rich>
                  <a:bodyPr/>
                  <a:lstStyle/>
                  <a:p>
                    <a:r>
                      <a:t>266.74</a:t>
                    </a:r>
                  </a:p>
                </c:rich>
              </c:tx>
              <c:showLegendKey val="0"/>
              <c:showVal val="1"/>
              <c:showCatName val="0"/>
              <c:showSerName val="0"/>
              <c:showPercent val="0"/>
              <c:showBubbleSize val="0"/>
            </c:dLbl>
            <c:dLbl>
              <c:idx val="11"/>
              <c:tx>
                <c:rich>
                  <a:bodyPr/>
                  <a:lstStyle/>
                  <a:p>
                    <a:r>
                      <a:t>252.24</a:t>
                    </a:r>
                  </a:p>
                </c:rich>
              </c:tx>
              <c:showLegendKey val="0"/>
              <c:showVal val="1"/>
              <c:showCatName val="0"/>
              <c:showSerName val="0"/>
              <c:showPercent val="0"/>
              <c:showBubbleSize val="0"/>
            </c:dLbl>
            <c:dLbl>
              <c:idx val="12"/>
              <c:tx>
                <c:rich>
                  <a:bodyPr/>
                  <a:lstStyle/>
                  <a:p>
                    <a:r>
                      <a:t>164.78</a:t>
                    </a:r>
                  </a:p>
                </c:rich>
              </c:tx>
              <c:showLegendKey val="0"/>
              <c:showVal val="1"/>
              <c:showCatName val="0"/>
              <c:showSerName val="0"/>
              <c:showPercent val="0"/>
              <c:showBubbleSize val="0"/>
            </c:dLbl>
            <c:dLbl>
              <c:idx val="13"/>
              <c:tx>
                <c:rich>
                  <a:bodyPr/>
                  <a:lstStyle/>
                  <a:p>
                    <a:r>
                      <a:t>299.0</a:t>
                    </a:r>
                  </a:p>
                </c:rich>
              </c:tx>
              <c:showLegendKey val="0"/>
              <c:showVal val="1"/>
              <c:showCatName val="0"/>
              <c:showSerName val="0"/>
              <c:showPercent val="0"/>
              <c:showBubbleSize val="0"/>
            </c:dLbl>
            <c:dLbl>
              <c:idx val="14"/>
              <c:tx>
                <c:rich>
                  <a:bodyPr/>
                  <a:lstStyle/>
                  <a:p>
                    <a:r>
                      <a:t>104.73</a:t>
                    </a:r>
                  </a:p>
                </c:rich>
              </c:tx>
              <c:showLegendKey val="0"/>
              <c:showVal val="1"/>
              <c:showCatName val="0"/>
              <c:showSerName val="0"/>
              <c:showPercent val="0"/>
              <c:showBubbleSize val="0"/>
            </c:dLbl>
            <c:dLbl>
              <c:idx val="15"/>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Australian Gold Australian Gold Sunscreen Adults Cosmetics Liquido 50 237Ml</c:v>
                </c:pt>
                <c:pt idx="5">
                  <c:v>Australian Gold Australian Gold Sunscreen Kids Cosmetics Liquido 50 20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Adults Cosmetics Liquido 30 - 49 200Ml</c:v>
                </c:pt>
                <c:pt idx="11">
                  <c:v>Others Fabricante Unif. Others Marca Unif. Sunscreen Adults Cosmetics Liquido 30 50Ml</c:v>
                </c:pt>
                <c:pt idx="12">
                  <c:v>Others Fabricante Unif. Others Marca Unif. Sunscreen Kids Cosmetics Liquido 50 100Ml</c:v>
                </c:pt>
                <c:pt idx="13">
                  <c:v>Others Fabricante Unif. Others Marca Unif. Sunscreen Adults Cosmetics Spray Liquido 50 200Ml</c:v>
                </c:pt>
                <c:pt idx="14">
                  <c:v>Others Fabricante Unif. Others Marca Unif. Sunscreen Adults Cosmetics Spray Liquido 50 70Ml</c:v>
                </c:pt>
                <c:pt idx="15">
                  <c:v>Others Fabricante Unif. Others Marca Unif. Sunscreen Adults Cosmetics Spray Liquido 50 50Ml</c:v>
                </c:pt>
              </c:strCache>
            </c:strRef>
          </c:cat>
          <c:val>
            <c:numRef>
              <c:f>Sheet1!$B$2:$B$17</c:f>
              <c:numCache>
                <c:formatCode>General</c:formatCode>
                <c:ptCount val="16"/>
                <c:pt idx="0">
                  <c:v>265.47</c:v>
                </c:pt>
                <c:pt idx="1">
                  <c:v>278.73</c:v>
                </c:pt>
                <c:pt idx="2">
                  <c:v>251.42</c:v>
                </c:pt>
                <c:pt idx="3">
                  <c:v>242.11</c:v>
                </c:pt>
                <c:pt idx="4">
                  <c:v>287.0</c:v>
                </c:pt>
                <c:pt idx="5">
                  <c:v>287.0</c:v>
                </c:pt>
                <c:pt idx="6">
                  <c:v>300.66</c:v>
                </c:pt>
                <c:pt idx="7">
                  <c:v>187.83</c:v>
                </c:pt>
                <c:pt idx="8">
                  <c:v>336.27</c:v>
                </c:pt>
                <c:pt idx="9">
                  <c:v>292.54</c:v>
                </c:pt>
                <c:pt idx="10">
                  <c:v>266.74</c:v>
                </c:pt>
                <c:pt idx="11">
                  <c:v>252.24</c:v>
                </c:pt>
                <c:pt idx="12">
                  <c:v>164.78</c:v>
                </c:pt>
                <c:pt idx="13">
                  <c:v>299.0</c:v>
                </c:pt>
                <c:pt idx="14">
                  <c:v>104.73</c:v>
                </c:pt>
                <c:pt idx="15">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showLegendKey val="0"/>
              <c:showVal val="1"/>
              <c:showCatName val="0"/>
              <c:showSerName val="0"/>
              <c:showPercent val="0"/>
              <c:showBubbleSize val="0"/>
            </c:dLbl>
            <c:dLbl>
              <c:idx val="1"/>
              <c:tx>
                <c:rich>
                  <a:bodyPr/>
                  <a:lstStyle/>
                  <a:p>
                    <a:r>
                      <a:t>331.9</a:t>
                    </a:r>
                  </a:p>
                </c:rich>
              </c:tx>
              <c:showLegendKey val="0"/>
              <c:showVal val="1"/>
              <c:showCatName val="0"/>
              <c:showSerName val="0"/>
              <c:showPercent val="0"/>
              <c:showBubbleSize val="0"/>
            </c:dLbl>
            <c:dLbl>
              <c:idx val="2"/>
              <c:tx>
                <c:rich>
                  <a:bodyPr/>
                  <a:lstStyle/>
                  <a:p>
                    <a:r>
                      <a:t>316.99</a:t>
                    </a:r>
                  </a:p>
                </c:rich>
              </c:tx>
              <c:showLegendKey val="0"/>
              <c:showVal val="1"/>
              <c:showCatName val="0"/>
              <c:showSerName val="0"/>
              <c:showPercent val="0"/>
              <c:showBubbleSize val="0"/>
            </c:dLbl>
            <c:dLbl>
              <c:idx val="3"/>
              <c:tx>
                <c:rich>
                  <a:bodyPr/>
                  <a:lstStyle/>
                  <a:p>
                    <a:r>
                      <a:t>316.7</a:t>
                    </a:r>
                  </a:p>
                </c:rich>
              </c:tx>
              <c:showLegendKey val="0"/>
              <c:showVal val="1"/>
              <c:showCatName val="0"/>
              <c:showSerName val="0"/>
              <c:showPercent val="0"/>
              <c:showBubbleSize val="0"/>
            </c:dLbl>
            <c:dLbl>
              <c:idx val="4"/>
              <c:tx>
                <c:rich>
                  <a:bodyPr/>
                  <a:lstStyle/>
                  <a:p>
                    <a:r>
                      <a:t>288.83</a:t>
                    </a:r>
                  </a:p>
                </c:rich>
              </c:tx>
              <c:showLegendKey val="0"/>
              <c:showVal val="1"/>
              <c:showCatName val="0"/>
              <c:showSerName val="0"/>
              <c:showPercent val="0"/>
              <c:showBubbleSize val="0"/>
            </c:dLbl>
            <c:dLbl>
              <c:idx val="5"/>
              <c:tx>
                <c:rich>
                  <a:bodyPr/>
                  <a:lstStyle/>
                  <a:p>
                    <a:r>
                      <a:t>494.13</a:t>
                    </a:r>
                  </a:p>
                </c:rich>
              </c:tx>
              <c:showLegendKey val="0"/>
              <c:showVal val="1"/>
              <c:showCatName val="0"/>
              <c:showSerName val="0"/>
              <c:showPercent val="0"/>
              <c:showBubbleSize val="0"/>
            </c:dLbl>
            <c:dLbl>
              <c:idx val="6"/>
              <c:tx>
                <c:rich>
                  <a:bodyPr/>
                  <a:lstStyle/>
                  <a:p>
                    <a:r>
                      <a:t>344.12</a:t>
                    </a:r>
                  </a:p>
                </c:rich>
              </c:tx>
              <c:showLegendKey val="0"/>
              <c:showVal val="1"/>
              <c:showCatName val="0"/>
              <c:showSerName val="0"/>
              <c:showPercent val="0"/>
              <c:showBubbleSize val="0"/>
            </c:dLbl>
            <c:dLbl>
              <c:idx val="7"/>
              <c:tx>
                <c:rich>
                  <a:bodyPr/>
                  <a:lstStyle/>
                  <a:p>
                    <a:r>
                      <a:t>308.31</a:t>
                    </a:r>
                  </a:p>
                </c:rich>
              </c:tx>
              <c:showLegendKey val="0"/>
              <c:showVal val="1"/>
              <c:showCatName val="0"/>
              <c:showSerName val="0"/>
              <c:showPercent val="0"/>
              <c:showBubbleSize val="0"/>
            </c:dLbl>
            <c:dLbl>
              <c:idx val="8"/>
              <c:tx>
                <c:rich>
                  <a:bodyPr/>
                  <a:lstStyle/>
                  <a:p>
                    <a:r>
                      <a:t>285.0</a:t>
                    </a:r>
                  </a:p>
                </c:rich>
              </c:tx>
              <c:showLegendKey val="0"/>
              <c:showVal val="1"/>
              <c:showCatName val="0"/>
              <c:showSerName val="0"/>
              <c:showPercent val="0"/>
              <c:showBubbleSize val="0"/>
            </c:dLbl>
            <c:dLbl>
              <c:idx val="9"/>
              <c:tx>
                <c:rich>
                  <a:bodyPr/>
                  <a:lstStyle/>
                  <a:p>
                    <a:r>
                      <a:t>270.0</a:t>
                    </a:r>
                  </a:p>
                </c:rich>
              </c:tx>
              <c:showLegendKey val="0"/>
              <c:showVal val="1"/>
              <c:showCatName val="0"/>
              <c:showSerName val="0"/>
              <c:showPercent val="0"/>
              <c:showBubbleSize val="0"/>
            </c:dLbl>
            <c:dLbl>
              <c:idx val="10"/>
              <c:tx>
                <c:rich>
                  <a:bodyPr/>
                  <a:lstStyle/>
                  <a:p>
                    <a:r>
                      <a:t>270.0</a:t>
                    </a:r>
                  </a:p>
                </c:rich>
              </c:tx>
              <c:showLegendKey val="0"/>
              <c:showVal val="1"/>
              <c:showCatName val="0"/>
              <c:showSerName val="0"/>
              <c:showPercent val="0"/>
              <c:showBubbleSize val="0"/>
            </c:dLbl>
            <c:dLbl>
              <c:idx val="11"/>
              <c:tx>
                <c:rich>
                  <a:bodyPr/>
                  <a:lstStyle/>
                  <a:p>
                    <a:r>
                      <a:t>195.0</a:t>
                    </a:r>
                  </a:p>
                </c:rich>
              </c:tx>
              <c:showLegendKey val="0"/>
              <c:showVal val="1"/>
              <c:showCatName val="0"/>
              <c:showSerName val="0"/>
              <c:showPercent val="0"/>
              <c:showBubbleSize val="0"/>
            </c:dLbl>
            <c:dLbl>
              <c:idx val="12"/>
              <c:tx>
                <c:rich>
                  <a:bodyPr/>
                  <a:lstStyle/>
                  <a:p>
                    <a:r>
                      <a:t>250.0</a:t>
                    </a:r>
                  </a:p>
                </c:rich>
              </c:tx>
              <c:showLegendKey val="0"/>
              <c:showVal val="1"/>
              <c:showCatName val="0"/>
              <c:showSerName val="0"/>
              <c:showPercent val="0"/>
              <c:showBubbleSize val="0"/>
            </c:dLbl>
            <c:dLbl>
              <c:idx val="13"/>
              <c:tx>
                <c:rich>
                  <a:bodyPr/>
                  <a:lstStyle/>
                  <a:p>
                    <a:r>
                      <a:t>150.0</a:t>
                    </a:r>
                  </a:p>
                </c:rich>
              </c:tx>
              <c:showLegendKey val="0"/>
              <c:showVal val="1"/>
              <c:showCatName val="0"/>
              <c:showSerName val="0"/>
              <c:showPercent val="0"/>
              <c:showBubbleSize val="0"/>
            </c:dLbl>
            <c:dLbl>
              <c:idx val="14"/>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236Ml</c:v>
                </c:pt>
                <c:pt idx="1">
                  <c:v>Edgewell Banana Boat Banded Pack Banded Pack 2X Sunscreen Multi 50+ 170Ml</c:v>
                </c:pt>
                <c:pt idx="2">
                  <c:v>Edgewell Banana Boat Mineral Sunscreen Adults Cosmetics Locion 50 180Ml</c:v>
                </c:pt>
                <c:pt idx="3">
                  <c:v>Edgewell Banana Boat Mineral Sunscreen Kids Cosmetics Locion 50 180Ml</c:v>
                </c:pt>
                <c:pt idx="4">
                  <c:v>Edgewell Banana Boat Mineral Sunscreen Adults Cosmetics Locion 50 60Ml</c:v>
                </c:pt>
                <c:pt idx="5">
                  <c:v>Labs. Expanscience Mustela Sunscreen Baby Cosmetics Locion 50+ 100Ml</c:v>
                </c:pt>
                <c:pt idx="6">
                  <c:v>Labs. Expanscience Mustela Sunscreen Kids Cosmetics Locion 50+ 40Ml</c:v>
                </c:pt>
                <c:pt idx="7">
                  <c:v>Sun &amp; Skin Care Research Ocean Potion Sunscreen Adults Cosmetics Locion 50 201Ml</c:v>
                </c:pt>
                <c:pt idx="8">
                  <c:v>Sun &amp; Skin Care Research Ocean Potion Sunscreen Adults Cosmetics Locion 50+ 201Ml</c:v>
                </c:pt>
                <c:pt idx="9">
                  <c:v>Sun &amp; Skin Care Research Ocean Potion Sunscreen Adults Cosmetics Locion 30 - 49 201Ml</c:v>
                </c:pt>
                <c:pt idx="10">
                  <c:v>Sun &amp; Skin Care Research No-Ad Sunscreen Adults Cosmetics Locion 50+ 250Ml</c:v>
                </c:pt>
                <c:pt idx="11">
                  <c:v>Sun &amp; Skin Care Research No-Ad Sunscreen Adults Cosmetics Locion 50+ 89Ml</c:v>
                </c:pt>
                <c:pt idx="12">
                  <c:v>Sun &amp; Skin Care Research No-Ad Sunscreen Adults Cosmetics Locion 60 250Ml</c:v>
                </c:pt>
                <c:pt idx="13">
                  <c:v>Sun &amp; Skin Care Research No-Ad Sunscreen Adults Cosmetics Locion 50 89Ml</c:v>
                </c:pt>
                <c:pt idx="14">
                  <c:v>Sun &amp; Skin Care Research No-Ad Sunscreen Adults Cosmetics Locion 30 - 49 89Ml</c:v>
                </c:pt>
              </c:strCache>
            </c:strRef>
          </c:cat>
          <c:val>
            <c:numRef>
              <c:f>Sheet1!$B$2:$B$16</c:f>
              <c:numCache>
                <c:formatCode>General</c:formatCode>
                <c:ptCount val="15"/>
                <c:pt idx="0">
                  <c:v>268.26</c:v>
                </c:pt>
                <c:pt idx="1">
                  <c:v>331.9</c:v>
                </c:pt>
                <c:pt idx="2">
                  <c:v>316.99</c:v>
                </c:pt>
                <c:pt idx="3">
                  <c:v>316.7</c:v>
                </c:pt>
                <c:pt idx="4">
                  <c:v>288.83</c:v>
                </c:pt>
                <c:pt idx="5">
                  <c:v>494.13</c:v>
                </c:pt>
                <c:pt idx="6">
                  <c:v>344.12</c:v>
                </c:pt>
                <c:pt idx="7">
                  <c:v>308.31</c:v>
                </c:pt>
                <c:pt idx="8">
                  <c:v>285.0</c:v>
                </c:pt>
                <c:pt idx="9">
                  <c:v>270.0</c:v>
                </c:pt>
                <c:pt idx="10">
                  <c:v>270.0</c:v>
                </c:pt>
                <c:pt idx="11">
                  <c:v>195.0</c:v>
                </c:pt>
                <c:pt idx="12">
                  <c:v>250.0</c:v>
                </c:pt>
                <c:pt idx="13">
                  <c:v>150.0</c:v>
                </c:pt>
                <c:pt idx="14">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2.53</a:t>
                    </a:r>
                  </a:p>
                </c:rich>
              </c:tx>
              <c:showLegendKey val="0"/>
              <c:showVal val="1"/>
              <c:showCatName val="0"/>
              <c:showSerName val="0"/>
              <c:showPercent val="0"/>
              <c:showBubbleSize val="0"/>
            </c:dLbl>
            <c:dLbl>
              <c:idx val="2"/>
              <c:tx>
                <c:rich>
                  <a:bodyPr/>
                  <a:lstStyle/>
                  <a:p>
                    <a:r>
                      <a:t>380.57</a:t>
                    </a:r>
                  </a:p>
                </c:rich>
              </c:tx>
              <c:showLegendKey val="0"/>
              <c:showVal val="1"/>
              <c:showCatName val="0"/>
              <c:showSerName val="0"/>
              <c:showPercent val="0"/>
              <c:showBubbleSize val="0"/>
            </c:dLbl>
            <c:dLbl>
              <c:idx val="3"/>
              <c:tx>
                <c:rich>
                  <a:bodyPr/>
                  <a:lstStyle/>
                  <a:p>
                    <a:r>
                      <a:t>350.53</a:t>
                    </a:r>
                  </a:p>
                </c:rich>
              </c:tx>
              <c:showLegendKey val="0"/>
              <c:showVal val="1"/>
              <c:showCatName val="0"/>
              <c:showSerName val="0"/>
              <c:showPercent val="0"/>
              <c:showBubbleSize val="0"/>
            </c:dLbl>
            <c:dLbl>
              <c:idx val="4"/>
              <c:tx>
                <c:rich>
                  <a:bodyPr/>
                  <a:lstStyle/>
                  <a:p>
                    <a:r>
                      <a:t>303.92</a:t>
                    </a:r>
                  </a:p>
                </c:rich>
              </c:tx>
              <c:showLegendKey val="0"/>
              <c:showVal val="1"/>
              <c:showCatName val="0"/>
              <c:showSerName val="0"/>
              <c:showPercent val="0"/>
              <c:showBubbleSize val="0"/>
            </c:dLbl>
            <c:dLbl>
              <c:idx val="5"/>
              <c:tx>
                <c:rich>
                  <a:bodyPr/>
                  <a:lstStyle/>
                  <a:p>
                    <a:r>
                      <a:t>398.0</a:t>
                    </a:r>
                  </a:p>
                </c:rich>
              </c:tx>
              <c:showLegendKey val="0"/>
              <c:showVal val="1"/>
              <c:showCatName val="0"/>
              <c:showSerName val="0"/>
              <c:showPercent val="0"/>
              <c:showBubbleSize val="0"/>
            </c:dLbl>
            <c:dLbl>
              <c:idx val="6"/>
              <c:tx>
                <c:rich>
                  <a:bodyPr/>
                  <a:lstStyle/>
                  <a:p>
                    <a:r>
                      <a:t>357.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699.77</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Australian Gold Australian Gold Sunscreen Adults Cosmetics Spray 15 - 19 170Ml</c:v>
                </c:pt>
                <c:pt idx="4">
                  <c:v>Sun &amp; Skin Care Research Ocean Potion Sunscreen Adults Cosmetics Spray 30 - 49 156Ml</c:v>
                </c:pt>
                <c:pt idx="5">
                  <c:v>Sun &amp; Skin Care Research Ocean Potion Sunscreen Adults Cosmetics Spray 50+ 156Ml</c:v>
                </c:pt>
                <c:pt idx="6">
                  <c:v>Australian Gold Australian Gold Sunscreen Kids Cosmetics Spray 50 170Ml</c:v>
                </c:pt>
                <c:pt idx="7">
                  <c:v>Sun &amp; Skin Care Research Ocean Potion Sunscreen Adults Cosmetics Spray 50 156Ml</c:v>
                </c:pt>
                <c:pt idx="8">
                  <c:v>Labs. Expanscience Mustela Sunscreen Baby Cosmetics Spray 50 200Ml</c:v>
                </c:pt>
                <c:pt idx="9">
                  <c:v>Sun &amp; Skin Care Research Ocean Potion Sunscreen Kids Cosmetics Spray 50 156Ml</c:v>
                </c:pt>
              </c:strCache>
            </c:strRef>
          </c:cat>
          <c:val>
            <c:numRef>
              <c:f>Sheet1!$B$2:$B$11</c:f>
              <c:numCache>
                <c:formatCode>General</c:formatCode>
                <c:ptCount val="10"/>
                <c:pt idx="0">
                  <c:v>310.0</c:v>
                </c:pt>
                <c:pt idx="1">
                  <c:v>242.53</c:v>
                </c:pt>
                <c:pt idx="2">
                  <c:v>380.57</c:v>
                </c:pt>
                <c:pt idx="3">
                  <c:v>350.53</c:v>
                </c:pt>
                <c:pt idx="4">
                  <c:v>303.92</c:v>
                </c:pt>
                <c:pt idx="5">
                  <c:v>398.0</c:v>
                </c:pt>
                <c:pt idx="6">
                  <c:v>357.0</c:v>
                </c:pt>
                <c:pt idx="7">
                  <c:v>310.0</c:v>
                </c:pt>
                <c:pt idx="8">
                  <c:v>699.77</c:v>
                </c:pt>
                <c:pt idx="9">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296.2</a:t>
                    </a:r>
                  </a:p>
                </c:rich>
              </c:tx>
              <c:showLegendKey val="0"/>
              <c:showVal val="1"/>
              <c:showCatName val="0"/>
              <c:showSerName val="0"/>
              <c:showPercent val="0"/>
              <c:showBubbleSize val="0"/>
            </c:dLbl>
            <c:dLbl>
              <c:idx val="2"/>
              <c:tx>
                <c:rich>
                  <a:bodyPr/>
                  <a:lstStyle/>
                  <a:p>
                    <a:r>
                      <a:t>93.47</a:t>
                    </a:r>
                  </a:p>
                </c:rich>
              </c:tx>
              <c:showLegendKey val="0"/>
              <c:showVal val="1"/>
              <c:showCatName val="0"/>
              <c:showSerName val="0"/>
              <c:showPercent val="0"/>
              <c:showBubbleSize val="0"/>
            </c:dLbl>
            <c:dLbl>
              <c:idx val="3"/>
              <c:tx>
                <c:rich>
                  <a:bodyPr/>
                  <a:lstStyle/>
                  <a:p>
                    <a:r>
                      <a:t>81.69</a:t>
                    </a:r>
                  </a:p>
                </c:rich>
              </c:tx>
              <c:showLegendKey val="0"/>
              <c:showVal val="1"/>
              <c:showCatName val="0"/>
              <c:showSerName val="0"/>
              <c:showPercent val="0"/>
              <c:showBubbleSize val="0"/>
            </c:dLbl>
            <c:dLbl>
              <c:idx val="4"/>
              <c:tx>
                <c:rich>
                  <a:bodyPr/>
                  <a:lstStyle/>
                  <a:p>
                    <a:r>
                      <a:t>245.0</a:t>
                    </a:r>
                  </a:p>
                </c:rich>
              </c:tx>
              <c:showLegendKey val="0"/>
              <c:showVal val="1"/>
              <c:showCatName val="0"/>
              <c:showSerName val="0"/>
              <c:showPercent val="0"/>
              <c:showBubbleSize val="0"/>
            </c:dLbl>
            <c:dLbl>
              <c:idx val="5"/>
              <c:tx>
                <c:rich>
                  <a:bodyPr/>
                  <a:lstStyle/>
                  <a:p>
                    <a:r>
                      <a:t>8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Sun &amp; Skin Care Research No-Ad Sunscreen Adults Sport Crema 50 250Ml</c:v>
                </c:pt>
                <c:pt idx="5">
                  <c:v>Others Fabricante Unif. Others Marca Unif. Sunscreen Adults Sport Crema 50+ 150Ml</c:v>
                </c:pt>
              </c:strCache>
            </c:strRef>
          </c:cat>
          <c:val>
            <c:numRef>
              <c:f>Sheet1!$B$2:$B$7</c:f>
              <c:numCache>
                <c:formatCode>General</c:formatCode>
                <c:ptCount val="6"/>
                <c:pt idx="0">
                  <c:v>281.61</c:v>
                </c:pt>
                <c:pt idx="1">
                  <c:v>296.2</c:v>
                </c:pt>
                <c:pt idx="2">
                  <c:v>93.47</c:v>
                </c:pt>
                <c:pt idx="3">
                  <c:v>81.69</c:v>
                </c:pt>
                <c:pt idx="4">
                  <c:v>245.0</c:v>
                </c:pt>
                <c:pt idx="5">
                  <c:v>8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29</a:t>
                    </a:r>
                  </a:p>
                </c:rich>
              </c:tx>
              <c:showLegendKey val="0"/>
              <c:showVal val="1"/>
              <c:showCatName val="0"/>
              <c:showSerName val="0"/>
              <c:showPercent val="0"/>
              <c:showBubbleSize val="0"/>
            </c:dLbl>
            <c:dLbl>
              <c:idx val="1"/>
              <c:tx>
                <c:rich>
                  <a:bodyPr/>
                  <a:lstStyle/>
                  <a:p>
                    <a:r>
                      <a:t>324.32</a:t>
                    </a:r>
                  </a:p>
                </c:rich>
              </c:tx>
              <c:showLegendKey val="0"/>
              <c:showVal val="1"/>
              <c:showCatName val="0"/>
              <c:showSerName val="0"/>
              <c:showPercent val="0"/>
              <c:showBubbleSize val="0"/>
            </c:dLbl>
            <c:dLbl>
              <c:idx val="2"/>
              <c:tx>
                <c:rich>
                  <a:bodyPr/>
                  <a:lstStyle/>
                  <a:p>
                    <a:r>
                      <a:t>92.14</a:t>
                    </a:r>
                  </a:p>
                </c:rich>
              </c:tx>
              <c:showLegendKey val="0"/>
              <c:showVal val="1"/>
              <c:showCatName val="0"/>
              <c:showSerName val="0"/>
              <c:showPercent val="0"/>
              <c:showBubbleSize val="0"/>
            </c:dLbl>
            <c:dLbl>
              <c:idx val="3"/>
              <c:tx>
                <c:rich>
                  <a:bodyPr/>
                  <a:lstStyle/>
                  <a:p>
                    <a:r>
                      <a:t>25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Australian Gold Australian Gold Sunscreen Adults Sport Liquido 30 - 49 200Ml</c:v>
                </c:pt>
              </c:strCache>
            </c:strRef>
          </c:cat>
          <c:val>
            <c:numRef>
              <c:f>Sheet1!$B$2:$B$5</c:f>
              <c:numCache>
                <c:formatCode>General</c:formatCode>
                <c:ptCount val="4"/>
                <c:pt idx="0">
                  <c:v>305.29</c:v>
                </c:pt>
                <c:pt idx="1">
                  <c:v>324.32</c:v>
                </c:pt>
                <c:pt idx="2">
                  <c:v>92.14</c:v>
                </c:pt>
                <c:pt idx="3">
                  <c:v>25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310.56</a:t>
                    </a:r>
                  </a:p>
                </c:rich>
              </c:tx>
              <c:dLblPos val="t"/>
              <c:showLegendKey val="0"/>
              <c:showVal val="1"/>
              <c:showCatName val="0"/>
              <c:showSerName val="0"/>
              <c:showPercent val="0"/>
              <c:showBubbleSize val="0"/>
            </c:dLbl>
            <c:dLbl>
              <c:idx val="2"/>
              <c:tx>
                <c:rich>
                  <a:bodyPr/>
                  <a:lstStyle/>
                  <a:p>
                    <a:r>
                      <a:t>93.72</a:t>
                    </a:r>
                  </a:p>
                </c:rich>
              </c:tx>
              <c:dLblPos val="t"/>
              <c:showLegendKey val="0"/>
              <c:showVal val="1"/>
              <c:showCatName val="0"/>
              <c:showSerName val="0"/>
              <c:showPercent val="0"/>
              <c:showBubbleSize val="0"/>
            </c:dLbl>
            <c:dLbl>
              <c:idx val="3"/>
              <c:tx>
                <c:rich>
                  <a:bodyPr/>
                  <a:lstStyle/>
                  <a:p>
                    <a:r>
                      <a:t>220.0</a:t>
                    </a:r>
                  </a:p>
                </c:rich>
              </c:tx>
              <c:dLblPos val="t"/>
              <c:showLegendKey val="0"/>
              <c:showVal val="1"/>
              <c:showCatName val="0"/>
              <c:showSerName val="0"/>
              <c:showPercent val="0"/>
              <c:showBubbleSize val="0"/>
            </c:dLbl>
            <c:dLbl>
              <c:idx val="4"/>
              <c:tx>
                <c:rich>
                  <a:bodyPr/>
                  <a:lstStyle/>
                  <a:p>
                    <a:r>
                      <a:t>268.66</a:t>
                    </a:r>
                  </a:p>
                </c:rich>
              </c:tx>
              <c:dLblPos val="t"/>
              <c:showLegendKey val="0"/>
              <c:showVal val="1"/>
              <c:showCatName val="0"/>
              <c:showSerName val="0"/>
              <c:showPercent val="0"/>
              <c:showBubbleSize val="0"/>
            </c:dLbl>
            <c:dLbl>
              <c:idx val="5"/>
              <c:tx>
                <c:rich>
                  <a:bodyPr/>
                  <a:lstStyle/>
                  <a:p>
                    <a:r>
                      <a:t>248.86</a:t>
                    </a:r>
                  </a:p>
                </c:rich>
              </c:tx>
              <c:dLblPos val="t"/>
              <c:showLegendKey val="0"/>
              <c:showVal val="1"/>
              <c:showCatName val="0"/>
              <c:showSerName val="0"/>
              <c:showPercent val="0"/>
              <c:showBubbleSize val="0"/>
            </c:dLbl>
            <c:dLbl>
              <c:idx val="6"/>
              <c:tx>
                <c:rich>
                  <a:bodyPr/>
                  <a:lstStyle/>
                  <a:p>
                    <a:r>
                      <a:t>249.96</a:t>
                    </a:r>
                  </a:p>
                </c:rich>
              </c:tx>
              <c:dLblPos val="t"/>
              <c:showLegendKey val="0"/>
              <c:showVal val="1"/>
              <c:showCatName val="0"/>
              <c:showSerName val="0"/>
              <c:showPercent val="0"/>
              <c:showBubbleSize val="0"/>
            </c:dLbl>
            <c:dLbl>
              <c:idx val="7"/>
              <c:tx>
                <c:rich>
                  <a:bodyPr/>
                  <a:lstStyle/>
                  <a:p>
                    <a:r>
                      <a:t>266.29</a:t>
                    </a:r>
                  </a:p>
                </c:rich>
              </c:tx>
              <c:dLblPos val="t"/>
              <c:showLegendKey val="0"/>
              <c:showVal val="1"/>
              <c:showCatName val="0"/>
              <c:showSerName val="0"/>
              <c:showPercent val="0"/>
              <c:showBubbleSize val="0"/>
            </c:dLbl>
            <c:dLbl>
              <c:idx val="8"/>
              <c:tx>
                <c:rich>
                  <a:bodyPr/>
                  <a:lstStyle/>
                  <a:p>
                    <a:r>
                      <a:t>282.97</a:t>
                    </a:r>
                  </a:p>
                </c:rich>
              </c:tx>
              <c:dLblPos val="t"/>
              <c:showLegendKey val="0"/>
              <c:showVal val="1"/>
              <c:showCatName val="0"/>
              <c:showSerName val="0"/>
              <c:showPercent val="0"/>
              <c:showBubbleSize val="0"/>
            </c:dLbl>
            <c:dLbl>
              <c:idx val="9"/>
              <c:tx>
                <c:rich>
                  <a:bodyPr/>
                  <a:lstStyle/>
                  <a:p>
                    <a:r>
                      <a:t>195.0</a:t>
                    </a:r>
                  </a:p>
                </c:rich>
              </c:tx>
              <c:dLblPos val="t"/>
              <c:showLegendKey val="0"/>
              <c:showVal val="1"/>
              <c:showCatName val="0"/>
              <c:showSerName val="0"/>
              <c:showPercent val="0"/>
              <c:showBubbleSize val="0"/>
            </c:dLbl>
            <c:dLbl>
              <c:idx val="10"/>
              <c:tx>
                <c:rich>
                  <a:bodyPr/>
                  <a:lstStyle/>
                  <a:p>
                    <a:r>
                      <a:t>213.0</a:t>
                    </a:r>
                  </a:p>
                </c:rich>
              </c:tx>
              <c:dLblPos val="t"/>
              <c:showLegendKey val="0"/>
              <c:showVal val="1"/>
              <c:showCatName val="0"/>
              <c:showSerName val="0"/>
              <c:showPercent val="0"/>
              <c:showBubbleSize val="0"/>
            </c:dLbl>
            <c:dLbl>
              <c:idx val="11"/>
              <c:tx>
                <c:rich>
                  <a:bodyPr/>
                  <a:lstStyle/>
                  <a:p>
                    <a:r>
                      <a:t>125.0</a:t>
                    </a:r>
                  </a:p>
                </c:rich>
              </c:tx>
              <c:dLblPos val="t"/>
              <c:showLegendKey val="0"/>
              <c:showVal val="1"/>
              <c:showCatName val="0"/>
              <c:showSerName val="0"/>
              <c:showPercent val="0"/>
              <c:showBubbleSize val="0"/>
            </c:dLbl>
            <c:dLbl>
              <c:idx val="12"/>
              <c:tx>
                <c:rich>
                  <a:bodyPr/>
                  <a:lstStyle/>
                  <a:p>
                    <a:r>
                      <a:t>201.58</a:t>
                    </a:r>
                  </a:p>
                </c:rich>
              </c:tx>
              <c:dLblPos val="t"/>
              <c:showLegendKey val="0"/>
              <c:showVal val="1"/>
              <c:showCatName val="0"/>
              <c:showSerName val="0"/>
              <c:showPercent val="0"/>
              <c:showBubbleSize val="0"/>
            </c:dLbl>
            <c:dLbl>
              <c:idx val="13"/>
              <c:tx>
                <c:rich>
                  <a:bodyPr/>
                  <a:lstStyle/>
                  <a:p>
                    <a:r>
                      <a:t>203.8</a:t>
                    </a:r>
                  </a:p>
                </c:rich>
              </c:tx>
              <c:dLblPos val="t"/>
              <c:showLegendKey val="0"/>
              <c:showVal val="1"/>
              <c:showCatName val="0"/>
              <c:showSerName val="0"/>
              <c:showPercent val="0"/>
              <c:showBubbleSize val="0"/>
            </c:dLbl>
            <c:dLbl>
              <c:idx val="14"/>
              <c:tx>
                <c:rich>
                  <a:bodyPr/>
                  <a:lstStyle/>
                  <a:p>
                    <a:r>
                      <a:t>265.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Banded Pack Banded Pack 2X Sunscreen Multi 50+ 170Ml</c:v>
                </c:pt>
                <c:pt idx="2">
                  <c:v>Edgewell Banana Boat Advanced Protection Sunscreen Adults Cosmetics Liquido 50+ 60Ml</c:v>
                </c:pt>
                <c:pt idx="3">
                  <c:v>Edgewell Banana Boat Mineral Sunscreen Adults Sport Locion 50 180Ml</c:v>
                </c:pt>
                <c:pt idx="4">
                  <c:v>Edgewell Banana Boat Aqua Protect Sunscreen Adults Sport Crema 50+ 236Ml</c:v>
                </c:pt>
                <c:pt idx="5">
                  <c:v>Edgewell Banana Boat Advanced Protection Sunscreen Adults Sport Liquido 50 180Ml</c:v>
                </c:pt>
                <c:pt idx="6">
                  <c:v>Edgewell Banana Boat Mineral Sunscreen Adults Cosmetics Locion 50 60Ml</c:v>
                </c:pt>
                <c:pt idx="7">
                  <c:v>Edgewell Banana Boat Dry Balance Sunscreen Adults Sport Crema 50+ 180Ml</c:v>
                </c:pt>
                <c:pt idx="8">
                  <c:v>Edgewell Banana Boat Baby Sunscreen Baby Cosmetics Locion 50 180Ml</c:v>
                </c:pt>
                <c:pt idx="9">
                  <c:v>Edgewell Banana Boat Gentle Protect Sunscreen Kids Cosmetics Spray Liquido 50+ 170Ml</c:v>
                </c:pt>
                <c:pt idx="10">
                  <c:v>Edgewell Banana Boat Mineral Sunscreen Kids Cosmetics Locion 50 180Ml</c:v>
                </c:pt>
                <c:pt idx="11">
                  <c:v>Edgewell Banana Boat Gentle Protect Sunscreen Adults Cosmetics Locion 50 180Ml</c:v>
                </c:pt>
                <c:pt idx="12">
                  <c:v>Edgewell Banana Boat Advanced Protection Sunscreen Adults Cosmetics Liquido 50+ 240Ml</c:v>
                </c:pt>
                <c:pt idx="13">
                  <c:v>Edgewell Banana Boat Bloqueador Sunscreen Adults Cosmetics Crema 50 236Ml</c:v>
                </c:pt>
                <c:pt idx="14">
                  <c:v>Edgewell Banana Boat Banded Pack Banded Pack 2X Sunscreen Multi 50+ 236Ml</c:v>
                </c:pt>
              </c:strCache>
            </c:strRef>
          </c:cat>
          <c:val>
            <c:numRef>
              <c:f>Sheet1!$B$2:$B$16</c:f>
              <c:numCache>
                <c:formatCode>General</c:formatCode>
                <c:ptCount val="15"/>
                <c:pt idx="0">
                  <c:v>240.0</c:v>
                </c:pt>
                <c:pt idx="1">
                  <c:v>310.56</c:v>
                </c:pt>
                <c:pt idx="2">
                  <c:v>93.72</c:v>
                </c:pt>
                <c:pt idx="3">
                  <c:v>220.0</c:v>
                </c:pt>
                <c:pt idx="4">
                  <c:v>268.66</c:v>
                </c:pt>
                <c:pt idx="5">
                  <c:v>248.86</c:v>
                </c:pt>
                <c:pt idx="6">
                  <c:v>249.96</c:v>
                </c:pt>
                <c:pt idx="7">
                  <c:v>266.29</c:v>
                </c:pt>
                <c:pt idx="8">
                  <c:v>282.97</c:v>
                </c:pt>
                <c:pt idx="9">
                  <c:v>195.0</c:v>
                </c:pt>
                <c:pt idx="10">
                  <c:v>213.0</c:v>
                </c:pt>
                <c:pt idx="11">
                  <c:v>125.0</c:v>
                </c:pt>
                <c:pt idx="12">
                  <c:v>201.58</c:v>
                </c:pt>
                <c:pt idx="13">
                  <c:v>203.8</c:v>
                </c:pt>
                <c:pt idx="14">
                  <c:v>265.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93</a:t>
                    </a:r>
                  </a:p>
                </c:rich>
              </c:tx>
              <c:showLegendKey val="0"/>
              <c:showVal val="1"/>
              <c:showCatName val="0"/>
              <c:showSerName val="0"/>
              <c:showPercent val="0"/>
              <c:showBubbleSize val="0"/>
            </c:dLbl>
            <c:dLbl>
              <c:idx val="1"/>
              <c:tx>
                <c:rich>
                  <a:bodyPr/>
                  <a:lstStyle/>
                  <a:p>
                    <a:r>
                      <a:t>288.11</a:t>
                    </a:r>
                  </a:p>
                </c:rich>
              </c:tx>
              <c:showLegendKey val="0"/>
              <c:showVal val="1"/>
              <c:showCatName val="0"/>
              <c:showSerName val="0"/>
              <c:showPercent val="0"/>
              <c:showBubbleSize val="0"/>
            </c:dLbl>
            <c:dLbl>
              <c:idx val="2"/>
              <c:tx>
                <c:rich>
                  <a:bodyPr/>
                  <a:lstStyle/>
                  <a:p>
                    <a:r>
                      <a:t>270.1</a:t>
                    </a:r>
                  </a:p>
                </c:rich>
              </c:tx>
              <c:showLegendKey val="0"/>
              <c:showVal val="1"/>
              <c:showCatName val="0"/>
              <c:showSerName val="0"/>
              <c:showPercent val="0"/>
              <c:showBubbleSize val="0"/>
            </c:dLbl>
            <c:dLbl>
              <c:idx val="3"/>
              <c:tx>
                <c:rich>
                  <a:bodyPr/>
                  <a:lstStyle/>
                  <a:p>
                    <a:r>
                      <a:t>25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Liquido 50 220Ml</c:v>
                </c:pt>
                <c:pt idx="1">
                  <c:v>Edgewell Banana Boat Advanced Protection Sunscreen Adults Sport Spray Liquido 50+ 170Ml</c:v>
                </c:pt>
                <c:pt idx="2">
                  <c:v>Edgewell Banana Boat Advanced Protection Sunscreen Adults Sport Liquido 50 180Ml</c:v>
                </c:pt>
                <c:pt idx="3">
                  <c:v>Australian Gold Australian Gold Sunscreen Adults Sport Liquido 30 - 49 200Ml</c:v>
                </c:pt>
              </c:strCache>
            </c:strRef>
          </c:cat>
          <c:val>
            <c:numRef>
              <c:f>Sheet1!$B$2:$B$5</c:f>
              <c:numCache>
                <c:formatCode>General</c:formatCode>
                <c:ptCount val="4"/>
                <c:pt idx="0">
                  <c:v>311.93</c:v>
                </c:pt>
                <c:pt idx="1">
                  <c:v>288.11</c:v>
                </c:pt>
                <c:pt idx="2">
                  <c:v>270.1</c:v>
                </c:pt>
                <c:pt idx="3">
                  <c:v>25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3.66</a:t>
                    </a:r>
                  </a:p>
                </c:rich>
              </c:tx>
              <c:showLegendKey val="0"/>
              <c:showVal val="1"/>
              <c:showCatName val="0"/>
              <c:showSerName val="0"/>
              <c:showPercent val="0"/>
              <c:showBubbleSize val="0"/>
            </c:dLbl>
            <c:dLbl>
              <c:idx val="1"/>
              <c:tx>
                <c:rich>
                  <a:bodyPr/>
                  <a:lstStyle/>
                  <a:p>
                    <a:r>
                      <a:t>318.71</a:t>
                    </a:r>
                  </a:p>
                </c:rich>
              </c:tx>
              <c:showLegendKey val="0"/>
              <c:showVal val="1"/>
              <c:showCatName val="0"/>
              <c:showSerName val="0"/>
              <c:showPercent val="0"/>
              <c:showBubbleSize val="0"/>
            </c:dLbl>
            <c:dLbl>
              <c:idx val="2"/>
              <c:tx>
                <c:rich>
                  <a:bodyPr/>
                  <a:lstStyle/>
                  <a:p>
                    <a:r>
                      <a:t>89.08</a:t>
                    </a:r>
                  </a:p>
                </c:rich>
              </c:tx>
              <c:showLegendKey val="0"/>
              <c:showVal val="1"/>
              <c:showCatName val="0"/>
              <c:showSerName val="0"/>
              <c:showPercent val="0"/>
              <c:showBubbleSize val="0"/>
            </c:dLbl>
            <c:dLbl>
              <c:idx val="3"/>
              <c:tx>
                <c:rich>
                  <a:bodyPr/>
                  <a:lstStyle/>
                  <a:p>
                    <a:r>
                      <a:t>377.5</a:t>
                    </a:r>
                  </a:p>
                </c:rich>
              </c:tx>
              <c:showLegendKey val="0"/>
              <c:showVal val="1"/>
              <c:showCatName val="0"/>
              <c:showSerName val="0"/>
              <c:showPercent val="0"/>
              <c:showBubbleSize val="0"/>
            </c:dLbl>
            <c:dLbl>
              <c:idx val="4"/>
              <c:tx>
                <c:rich>
                  <a:bodyPr/>
                  <a:lstStyle/>
                  <a:p>
                    <a:r>
                      <a:t>303.18</a:t>
                    </a:r>
                  </a:p>
                </c:rich>
              </c:tx>
              <c:showLegendKey val="0"/>
              <c:showVal val="1"/>
              <c:showCatName val="0"/>
              <c:showSerName val="0"/>
              <c:showPercent val="0"/>
              <c:showBubbleSize val="0"/>
            </c:dLbl>
            <c:dLbl>
              <c:idx val="5"/>
              <c:tx>
                <c:rich>
                  <a:bodyPr/>
                  <a:lstStyle/>
                  <a:p>
                    <a:r>
                      <a:t>299.0</a:t>
                    </a:r>
                  </a:p>
                </c:rich>
              </c:tx>
              <c:showLegendKey val="0"/>
              <c:showVal val="1"/>
              <c:showCatName val="0"/>
              <c:showSerName val="0"/>
              <c:showPercent val="0"/>
              <c:showBubbleSize val="0"/>
            </c:dLbl>
            <c:dLbl>
              <c:idx val="6"/>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170Ml</c:v>
                </c:pt>
                <c:pt idx="1">
                  <c:v>Edgewell Banana Boat Mineral Sunscreen Adults Sport Locion 50 180Ml</c:v>
                </c:pt>
                <c:pt idx="2">
                  <c:v>Edgewell Banana Boat Dry Balance Sunscreen Adults Sport Locion 50+ 60Ml</c:v>
                </c:pt>
                <c:pt idx="3">
                  <c:v>Australian Gold Australian Gold Sunscreen Adults Sport Spray Locion 30 170Ml</c:v>
                </c:pt>
                <c:pt idx="4">
                  <c:v>Australian Gold Australian Gold Sunscreen Adults Sport Locion 30 237Ml</c:v>
                </c:pt>
                <c:pt idx="5">
                  <c:v>Others Fabricante Unif. Others Marca Unif. Sunscreen Adults Sport Spray Locion 50 200Ml</c:v>
                </c:pt>
                <c:pt idx="6">
                  <c:v>Others Fabricante Unif. Others Marca Unif. Sunscreen Adults Sport Spray Locion 50+ 100Ml</c:v>
                </c:pt>
              </c:strCache>
            </c:strRef>
          </c:cat>
          <c:val>
            <c:numRef>
              <c:f>Sheet1!$B$2:$B$8</c:f>
              <c:numCache>
                <c:formatCode>General</c:formatCode>
                <c:ptCount val="7"/>
                <c:pt idx="0">
                  <c:v>323.66</c:v>
                </c:pt>
                <c:pt idx="1">
                  <c:v>318.71</c:v>
                </c:pt>
                <c:pt idx="2">
                  <c:v>89.08</c:v>
                </c:pt>
                <c:pt idx="3">
                  <c:v>377.5</c:v>
                </c:pt>
                <c:pt idx="4">
                  <c:v>303.18</c:v>
                </c:pt>
                <c:pt idx="5">
                  <c:v>299.0</c:v>
                </c:pt>
                <c:pt idx="6">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3.5</a:t>
                    </a:r>
                  </a:p>
                </c:rich>
              </c:tx>
              <c:showLegendKey val="0"/>
              <c:showVal val="1"/>
              <c:showCatName val="0"/>
              <c:showSerName val="0"/>
              <c:showPercent val="0"/>
              <c:showBubbleSize val="0"/>
            </c:dLbl>
            <c:dLbl>
              <c:idx val="1"/>
              <c:tx>
                <c:rich>
                  <a:bodyPr/>
                  <a:lstStyle/>
                  <a:p>
                    <a:r>
                      <a:t>409.15</a:t>
                    </a:r>
                  </a:p>
                </c:rich>
              </c:tx>
              <c:showLegendKey val="0"/>
              <c:showVal val="1"/>
              <c:showCatName val="0"/>
              <c:showSerName val="0"/>
              <c:showPercent val="0"/>
              <c:showBubbleSize val="0"/>
            </c:dLbl>
            <c:dLbl>
              <c:idx val="2"/>
              <c:tx>
                <c:rich>
                  <a:bodyPr/>
                  <a:lstStyle/>
                  <a:p>
                    <a:r>
                      <a:t>335.94</a:t>
                    </a:r>
                  </a:p>
                </c:rich>
              </c:tx>
              <c:showLegendKey val="0"/>
              <c:showVal val="1"/>
              <c:showCatName val="0"/>
              <c:showSerName val="0"/>
              <c:showPercent val="0"/>
              <c:showBubbleSize val="0"/>
            </c:dLbl>
            <c:dLbl>
              <c:idx val="3"/>
              <c:tx>
                <c:rich>
                  <a:bodyPr/>
                  <a:lstStyle/>
                  <a:p>
                    <a:r>
                      <a:t>1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Dry Balance Sunscreen Adults Sport Spray 50+ 170Ml</c:v>
                </c:pt>
                <c:pt idx="1">
                  <c:v>Australian Gold Australian Gold Sunscreen Adults Sport Spray 50 170Ml</c:v>
                </c:pt>
                <c:pt idx="2">
                  <c:v>Sun &amp; Skin Care Research Ocean Potion Sunscreen Adults Sport Spray 50 156Ml</c:v>
                </c:pt>
                <c:pt idx="3">
                  <c:v>Others Fabricante Unif. Others Marca Unif. Sunscreen Adults Sport Spray 50+ 150Ml</c:v>
                </c:pt>
              </c:strCache>
            </c:strRef>
          </c:cat>
          <c:val>
            <c:numRef>
              <c:f>Sheet1!$B$2:$B$5</c:f>
              <c:numCache>
                <c:formatCode>General</c:formatCode>
                <c:ptCount val="4"/>
                <c:pt idx="0">
                  <c:v>403.5</c:v>
                </c:pt>
                <c:pt idx="1">
                  <c:v>409.15</c:v>
                </c:pt>
                <c:pt idx="2">
                  <c:v>335.94</c:v>
                </c:pt>
                <c:pt idx="3">
                  <c:v>1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3.2381</c:v>
                </c:pt>
                <c:pt idx="2">
                  <c:v>197.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75.4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39.98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4925</c:v>
                </c:pt>
                <c:pt idx="1">
                  <c:v>208.25</c:v>
                </c:pt>
                <c:pt idx="8">
                  <c:v>474.93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4.5499</c:v>
                </c:pt>
                <c:pt idx="8">
                  <c:v>143.35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49.4224</c:v>
                </c:pt>
                <c:pt idx="3">
                  <c:v>271.4532</c:v>
                </c:pt>
                <c:pt idx="7">
                  <c:v>694.53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76.765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3.7221</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0">
                  <c:v>266.1311</c:v>
                </c:pt>
                <c:pt idx="1">
                  <c:v>261.0556</c:v>
                </c:pt>
                <c:pt idx="2">
                  <c:v>522.289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154.4267</c:v>
                </c:pt>
                <c:pt idx="3">
                  <c:v>270.1175</c:v>
                </c:pt>
                <c:pt idx="4">
                  <c:v>628.532</c:v>
                </c:pt>
                <c:pt idx="6">
                  <c:v>721.5475</c:v>
                </c:pt>
                <c:pt idx="7">
                  <c:v>717.8433</c:v>
                </c:pt>
                <c:pt idx="8">
                  <c:v>156.852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0">
                  <c:v>277.8749</c:v>
                </c:pt>
                <c:pt idx="1">
                  <c:v>273.748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1">
                  <c:v>138.11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1">
                  <c:v>246.509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235.379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0">
                  <c:v>256.2393</c:v>
                </c:pt>
                <c:pt idx="1">
                  <c:v>239.532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4">
                  <c:v>631.39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323.6008</c:v>
                </c:pt>
                <c:pt idx="1">
                  <c:v>311.8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0">
                  <c:v>38.1935</c:v>
                </c:pt>
                <c:pt idx="1">
                  <c:v>38.3008</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1">
                  <c:v>228.041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W$2:$W$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X$2:$X$10</c:f>
              <c:numCache>
                <c:formatCode>General</c:formatCode>
                <c:ptCount val="9"/>
                <c:pt idx="3">
                  <c:v>263.0861</c:v>
                </c:pt>
                <c:pt idx="8">
                  <c:v>522.3862</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Y$2:$Y$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Z$2:$Z$10</c:f>
              <c:numCache>
                <c:formatCode>General</c:formatCode>
                <c:ptCount val="9"/>
                <c:pt idx="1">
                  <c:v>146.1491</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A$2:$AA$10</c:f>
              <c:numCache>
                <c:formatCode>General</c:formatCode>
                <c:ptCount val="9"/>
                <c:pt idx="1">
                  <c:v>151.530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B$2:$AB$10</c:f>
              <c:numCache>
                <c:formatCode>General</c:formatCode>
                <c:ptCount val="9"/>
                <c:pt idx="0">
                  <c:v>231.5438</c:v>
                </c:pt>
                <c:pt idx="1">
                  <c:v>270.2126</c:v>
                </c:pt>
                <c:pt idx="2">
                  <c:v>208.5341</c:v>
                </c:pt>
                <c:pt idx="3">
                  <c:v>248.5054</c:v>
                </c:pt>
                <c:pt idx="4">
                  <c:v>622.7653</c:v>
                </c:pt>
                <c:pt idx="5">
                  <c:v>616.1585</c:v>
                </c:pt>
                <c:pt idx="6">
                  <c:v>645.5026</c:v>
                </c:pt>
                <c:pt idx="7">
                  <c:v>663.6736</c:v>
                </c:pt>
                <c:pt idx="8">
                  <c:v>526.5017</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C$2:$AC$10</c:f>
              <c:numCache>
                <c:formatCode>General</c:formatCode>
                <c:ptCount val="9"/>
                <c:pt idx="0">
                  <c:v>91.6395</c:v>
                </c:pt>
                <c:pt idx="1">
                  <c:v>84.8929</c:v>
                </c:pt>
                <c:pt idx="8">
                  <c:v>159.322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D$2:$AD$10</c:f>
              <c:numCache>
                <c:formatCode>General</c:formatCode>
                <c:ptCount val="9"/>
                <c:pt idx="1">
                  <c:v>206.1407</c:v>
                </c:pt>
                <c:pt idx="5">
                  <c:v>519.7577</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E$2:$AE$10</c:f>
              <c:numCache>
                <c:formatCode>General</c:formatCode>
                <c:ptCount val="9"/>
                <c:pt idx="0">
                  <c:v>97.114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7.6563</c:v>
                </c:pt>
                <c:pt idx="2">
                  <c:v>199.45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80.52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40.18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7601</c:v>
                </c:pt>
                <c:pt idx="1">
                  <c:v>208.25</c:v>
                </c:pt>
                <c:pt idx="8">
                  <c:v>469.46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3.0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52.9382</c:v>
                </c:pt>
                <c:pt idx="3">
                  <c:v>270.2085</c:v>
                </c:pt>
                <c:pt idx="7">
                  <c:v>701.25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81.02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6.5634</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0">
                  <c:v>272.1646</c:v>
                </c:pt>
                <c:pt idx="1">
                  <c:v>264.3496</c:v>
                </c:pt>
                <c:pt idx="2">
                  <c:v>551.166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160.1668</c:v>
                </c:pt>
                <c:pt idx="3">
                  <c:v>271.2173</c:v>
                </c:pt>
                <c:pt idx="4">
                  <c:v>635.3463</c:v>
                </c:pt>
                <c:pt idx="6">
                  <c:v>733.907</c:v>
                </c:pt>
                <c:pt idx="7">
                  <c:v>738.944</c:v>
                </c:pt>
                <c:pt idx="8">
                  <c:v>158.211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0">
                  <c:v>284.361</c:v>
                </c:pt>
                <c:pt idx="1">
                  <c:v>274.953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1">
                  <c:v>138.337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1">
                  <c:v>249.640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237.527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0">
                  <c:v>258.055</c:v>
                </c:pt>
                <c:pt idx="1">
                  <c:v>243.669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4">
                  <c:v>636.317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332.9611</c:v>
                </c:pt>
                <c:pt idx="1">
                  <c:v>330.003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1">
                  <c:v>350.72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W$2:$W$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X$2:$X$10</c:f>
              <c:numCache>
                <c:formatCode>General</c:formatCode>
                <c:ptCount val="9"/>
                <c:pt idx="3">
                  <c:v>262.6641</c:v>
                </c:pt>
                <c:pt idx="7">
                  <c:v>774.5679</c:v>
                </c:pt>
                <c:pt idx="8">
                  <c:v>529.5965</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Y$2:$Y$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Z$2:$Z$10</c:f>
              <c:numCache>
                <c:formatCode>General</c:formatCode>
                <c:ptCount val="9"/>
                <c:pt idx="1">
                  <c:v>146.727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A$2:$AA$10</c:f>
              <c:numCache>
                <c:formatCode>General</c:formatCode>
                <c:ptCount val="9"/>
                <c:pt idx="1">
                  <c:v>151.990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B$2:$AB$10</c:f>
              <c:numCache>
                <c:formatCode>General</c:formatCode>
                <c:ptCount val="9"/>
                <c:pt idx="0">
                  <c:v>234.5103</c:v>
                </c:pt>
                <c:pt idx="1">
                  <c:v>272.3561</c:v>
                </c:pt>
                <c:pt idx="2">
                  <c:v>208.892</c:v>
                </c:pt>
                <c:pt idx="3">
                  <c:v>247.4402</c:v>
                </c:pt>
                <c:pt idx="4">
                  <c:v>620.6019</c:v>
                </c:pt>
                <c:pt idx="5">
                  <c:v>624.3638</c:v>
                </c:pt>
                <c:pt idx="6">
                  <c:v>654.5598</c:v>
                </c:pt>
                <c:pt idx="7">
                  <c:v>675.124</c:v>
                </c:pt>
                <c:pt idx="8">
                  <c:v>702.5327</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C$2:$AC$10</c:f>
              <c:numCache>
                <c:formatCode>General</c:formatCode>
                <c:ptCount val="9"/>
                <c:pt idx="0">
                  <c:v>92.5038</c:v>
                </c:pt>
                <c:pt idx="1">
                  <c:v>84.734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D$2:$AD$10</c:f>
              <c:numCache>
                <c:formatCode>General</c:formatCode>
                <c:ptCount val="9"/>
                <c:pt idx="1">
                  <c:v>207.7195</c:v>
                </c:pt>
                <c:pt idx="5">
                  <c:v>527.99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E$2:$AE$10</c:f>
              <c:numCache>
                <c:formatCode>General</c:formatCode>
                <c:ptCount val="9"/>
                <c:pt idx="0">
                  <c:v>97.155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B$2:$B$10</c:f>
              <c:numCache>
                <c:formatCode>General</c:formatCode>
                <c:ptCount val="9"/>
                <c:pt idx="0">
                  <c:v>364.9119</c:v>
                </c:pt>
                <c:pt idx="2">
                  <c:v>39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D$2:$D$10</c:f>
              <c:numCache>
                <c:formatCode>General</c:formatCode>
                <c:ptCount val="9"/>
                <c:pt idx="3">
                  <c:v>489.36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E$2:$E$10</c:f>
              <c:numCache>
                <c:formatCode>General</c:formatCode>
                <c:ptCount val="9"/>
                <c:pt idx="1">
                  <c:v>361.2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F$2:$F$10</c:f>
              <c:numCache>
                <c:formatCode>General</c:formatCode>
                <c:ptCount val="9"/>
                <c:pt idx="0">
                  <c:v>182.863</c:v>
                </c:pt>
                <c:pt idx="1">
                  <c:v>208.25</c:v>
                </c:pt>
                <c:pt idx="8">
                  <c:v>639.50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G$2:$G$10</c:f>
              <c:numCache>
                <c:formatCode>General</c:formatCode>
                <c:ptCount val="9"/>
                <c:pt idx="7">
                  <c:v>170.668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H$2:$H$10</c:f>
              <c:numCache>
                <c:formatCode>General</c:formatCode>
                <c:ptCount val="9"/>
                <c:pt idx="0">
                  <c:v>263.8422</c:v>
                </c:pt>
                <c:pt idx="6">
                  <c:v>725.08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I$2:$I$10</c:f>
              <c:numCache>
                <c:formatCode>General</c:formatCode>
                <c:ptCount val="9"/>
                <c:pt idx="1">
                  <c:v>322.296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J$2:$J$10</c:f>
              <c:numCache>
                <c:formatCode>General</c:formatCode>
                <c:ptCount val="9"/>
                <c:pt idx="0">
                  <c:v>247.3772</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L$2:$L$10</c:f>
              <c:numCache>
                <c:formatCode>General</c:formatCode>
                <c:ptCount val="9"/>
                <c:pt idx="0">
                  <c:v>291.0044</c:v>
                </c:pt>
                <c:pt idx="1">
                  <c:v>312.3822</c:v>
                </c:pt>
                <c:pt idx="2">
                  <c:v>551.166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M$2:$M$10</c:f>
              <c:numCache>
                <c:formatCode>General</c:formatCode>
                <c:ptCount val="9"/>
                <c:pt idx="0">
                  <c:v>245.625</c:v>
                </c:pt>
                <c:pt idx="3">
                  <c:v>650.6767</c:v>
                </c:pt>
                <c:pt idx="5">
                  <c:v>756.3559</c:v>
                </c:pt>
                <c:pt idx="6">
                  <c:v>768.6692</c:v>
                </c:pt>
                <c:pt idx="7">
                  <c:v>335.5958</c:v>
                </c:pt>
                <c:pt idx="8">
                  <c:v>256.294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N$2:$N$10</c:f>
              <c:numCache>
                <c:formatCode>General</c:formatCode>
                <c:ptCount val="9"/>
                <c:pt idx="0">
                  <c:v>303.9672</c:v>
                </c:pt>
                <c:pt idx="1">
                  <c:v>297.132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O$2:$O$10</c:f>
              <c:numCache>
                <c:formatCode>General</c:formatCode>
                <c:ptCount val="9"/>
                <c:pt idx="1">
                  <c:v>143.013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P$2:$P$10</c:f>
              <c:numCache>
                <c:formatCode>General</c:formatCode>
                <c:ptCount val="9"/>
                <c:pt idx="1">
                  <c:v>287.88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Q$2:$Q$10</c:f>
              <c:numCache>
                <c:formatCode>General</c:formatCode>
                <c:ptCount val="9"/>
                <c:pt idx="1">
                  <c:v>288.69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R$2:$R$10</c:f>
              <c:numCache>
                <c:formatCode>General</c:formatCode>
                <c:ptCount val="9"/>
                <c:pt idx="0">
                  <c:v>278.6113</c:v>
                </c:pt>
                <c:pt idx="1">
                  <c:v>279.21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S$2:$S$10</c:f>
              <c:numCache>
                <c:formatCode>General</c:formatCode>
                <c:ptCount val="9"/>
                <c:pt idx="3">
                  <c:v>643.716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T$2:$T$10</c:f>
              <c:numCache>
                <c:formatCode>General</c:formatCode>
                <c:ptCount val="9"/>
                <c:pt idx="0">
                  <c:v>330.818</c:v>
                </c:pt>
                <c:pt idx="1">
                  <c:v>326.622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U$2:$U$10</c:f>
              <c:numCache>
                <c:formatCode>General</c:formatCode>
                <c:ptCount val="9"/>
                <c:pt idx="1">
                  <c:v>472.629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V$2:$V$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W$2:$W$10</c:f>
              <c:numCache>
                <c:formatCode>General</c:formatCode>
                <c:ptCount val="9"/>
                <c:pt idx="6">
                  <c:v>787.5763</c:v>
                </c:pt>
                <c:pt idx="7">
                  <c:v>300.5167</c:v>
                </c:pt>
                <c:pt idx="8">
                  <c:v>547.5957</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X$2:$X$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Y$2:$Y$10</c:f>
              <c:numCache>
                <c:formatCode>General</c:formatCode>
                <c:ptCount val="9"/>
                <c:pt idx="0">
                  <c:v>340.8083</c:v>
                </c:pt>
                <c:pt idx="1">
                  <c:v>342.1964</c:v>
                </c:pt>
                <c:pt idx="2">
                  <c:v>277.0625</c:v>
                </c:pt>
                <c:pt idx="3">
                  <c:v>630.0928</c:v>
                </c:pt>
                <c:pt idx="4">
                  <c:v>636.9591</c:v>
                </c:pt>
                <c:pt idx="5">
                  <c:v>673.9254</c:v>
                </c:pt>
                <c:pt idx="6">
                  <c:v>706.274</c:v>
                </c:pt>
                <c:pt idx="7">
                  <c:v>300.2204</c:v>
                </c:pt>
                <c:pt idx="8">
                  <c:v>954.86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Z$2:$Z$10</c:f>
              <c:numCache>
                <c:formatCode>General</c:formatCode>
                <c:ptCount val="9"/>
                <c:pt idx="0">
                  <c:v>64.4328</c:v>
                </c:pt>
                <c:pt idx="1">
                  <c:v>69.122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AA$2:$AA$10</c:f>
              <c:numCache>
                <c:formatCode>General</c:formatCode>
                <c:ptCount val="9"/>
                <c:pt idx="1">
                  <c:v>268.0921</c:v>
                </c:pt>
                <c:pt idx="4">
                  <c:v>548.4786</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AB$2:$AB$10</c:f>
              <c:numCache>
                <c:formatCode>General</c:formatCode>
                <c:ptCount val="9"/>
                <c:pt idx="0">
                  <c:v>123.728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B$2:$B$10</c:f>
              <c:numCache>
                <c:formatCode>General</c:formatCode>
                <c:ptCount val="9"/>
                <c:pt idx="2">
                  <c:v>205.88</c:v>
                </c:pt>
                <c:pt idx="4">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C$2:$C$10</c:f>
              <c:numCache>
                <c:formatCode>General</c:formatCode>
                <c:ptCount val="9"/>
                <c:pt idx="1">
                  <c:v>156.2336</c:v>
                </c:pt>
                <c:pt idx="7">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D$2:$D$10</c:f>
              <c:numCache>
                <c:formatCode>General</c:formatCode>
                <c:ptCount val="9"/>
                <c:pt idx="3">
                  <c:v>169.5379</c:v>
                </c:pt>
                <c:pt idx="4">
                  <c:v>135.8572</c:v>
                </c:pt>
                <c:pt idx="8">
                  <c:v>291.0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E$2:$E$10</c:f>
              <c:numCache>
                <c:formatCode>General</c:formatCode>
                <c:ptCount val="9"/>
                <c:pt idx="3">
                  <c:v>280.4306</c:v>
                </c:pt>
                <c:pt idx="6">
                  <c:v>90.70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F$2:$F$10</c:f>
              <c:numCache>
                <c:formatCode>General</c:formatCode>
                <c:ptCount val="9"/>
                <c:pt idx="0">
                  <c:v>283.3078</c:v>
                </c:pt>
                <c:pt idx="4">
                  <c:v>154.50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G$2:$G$10</c:f>
              <c:numCache>
                <c:formatCode>General</c:formatCode>
                <c:ptCount val="9"/>
                <c:pt idx="0">
                  <c:v>210.1855</c:v>
                </c:pt>
                <c:pt idx="1">
                  <c:v>192.54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H$2:$H$10</c:f>
              <c:numCache>
                <c:formatCode>General</c:formatCode>
                <c:ptCount val="9"/>
                <c:pt idx="3">
                  <c:v>273.68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I$2:$I$10</c:f>
              <c:numCache>
                <c:formatCode>General</c:formatCode>
                <c:ptCount val="9"/>
                <c:pt idx="1">
                  <c:v>22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J$2:$J$10</c:f>
              <c:numCache>
                <c:formatCode>General</c:formatCode>
                <c:ptCount val="9"/>
                <c:pt idx="0">
                  <c:v>241.74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K$2:$K$10</c:f>
              <c:numCache>
                <c:formatCode>General</c:formatCode>
                <c:ptCount val="9"/>
                <c:pt idx="0">
                  <c:v>157.9333</c:v>
                </c:pt>
                <c:pt idx="1">
                  <c:v>172.265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L$2:$L$10</c:f>
              <c:numCache>
                <c:formatCode>General</c:formatCode>
                <c:ptCount val="9"/>
                <c:pt idx="5">
                  <c:v>465.668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M$2:$M$10</c:f>
              <c:numCache>
                <c:formatCode>General</c:formatCode>
                <c:ptCount val="9"/>
                <c:pt idx="3">
                  <c:v>254.46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N$2:$N$10</c:f>
              <c:numCache>
                <c:formatCode>General</c:formatCode>
                <c:ptCount val="9"/>
                <c:pt idx="3">
                  <c:v>231.3578</c:v>
                </c:pt>
                <c:pt idx="4">
                  <c:v>92.8092</c:v>
                </c:pt>
                <c:pt idx="5">
                  <c:v>447.85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O$2:$O$10</c:f>
              <c:numCache>
                <c:formatCode>General</c:formatCode>
                <c:ptCount val="9"/>
                <c:pt idx="0">
                  <c:v>120.8929</c:v>
                </c:pt>
                <c:pt idx="1">
                  <c:v>97.0141</c:v>
                </c:pt>
                <c:pt idx="4">
                  <c:v>97.3934</c:v>
                </c:pt>
                <c:pt idx="6">
                  <c:v>50.78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P$2:$P$10</c:f>
              <c:numCache>
                <c:formatCode>General</c:formatCode>
                <c:ptCount val="9"/>
                <c:pt idx="1">
                  <c:v>88.51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699</c:v>
                </c:pt>
                <c:pt idx="5">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5.09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38.7825</c:v>
                </c:pt>
                <c:pt idx="3">
                  <c:v>253.5711</c:v>
                </c:pt>
                <c:pt idx="6">
                  <c:v>106.7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68.65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70.72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68.1047</c:v>
                </c:pt>
                <c:pt idx="1">
                  <c:v>243.32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0">
                  <c:v>159.1096</c:v>
                </c:pt>
                <c:pt idx="3">
                  <c:v>257.1364</c:v>
                </c:pt>
                <c:pt idx="4">
                  <c:v>594.2317</c:v>
                </c:pt>
                <c:pt idx="5">
                  <c:v>304.4295</c:v>
                </c:pt>
                <c:pt idx="7">
                  <c:v>106.76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70.0428</c:v>
                </c:pt>
                <c:pt idx="1">
                  <c:v>259.8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126.15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1">
                  <c:v>242.75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1">
                  <c:v>220.037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0">
                  <c:v>249.9821</c:v>
                </c:pt>
                <c:pt idx="1">
                  <c:v>230.552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4">
                  <c:v>599.6027</c:v>
                </c:pt>
                <c:pt idx="6">
                  <c:v>129.469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1">
                  <c:v>262.89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3">
                  <c:v>245.8582</c:v>
                </c:pt>
                <c:pt idx="5">
                  <c:v>303.461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1">
                  <c:v>146.576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1">
                  <c:v>151.873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V$2:$V$10</c:f>
              <c:numCache>
                <c:formatCode>General</c:formatCode>
                <c:ptCount val="9"/>
                <c:pt idx="0">
                  <c:v>222.5471</c:v>
                </c:pt>
                <c:pt idx="1">
                  <c:v>269.4524</c:v>
                </c:pt>
                <c:pt idx="2">
                  <c:v>206.8187</c:v>
                </c:pt>
                <c:pt idx="3">
                  <c:v>231.7299</c:v>
                </c:pt>
                <c:pt idx="4">
                  <c:v>582.9502</c:v>
                </c:pt>
                <c:pt idx="8">
                  <c:v>549.832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W$2:$W$10</c:f>
              <c:numCache>
                <c:formatCode>General</c:formatCode>
                <c:ptCount val="9"/>
                <c:pt idx="0">
                  <c:v>102.21</c:v>
                </c:pt>
                <c:pt idx="1">
                  <c:v>106.6671</c:v>
                </c:pt>
                <c:pt idx="6">
                  <c:v>32.78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X$2:$X$10</c:f>
              <c:numCache>
                <c:formatCode>General</c:formatCode>
                <c:ptCount val="9"/>
                <c:pt idx="1">
                  <c:v>204.058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Y$2:$Y$10</c:f>
              <c:numCache>
                <c:formatCode>General</c:formatCode>
                <c:ptCount val="9"/>
                <c:pt idx="6">
                  <c:v>124.9101</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Z$2:$Z$10</c:f>
              <c:numCache>
                <c:formatCode>General</c:formatCode>
                <c:ptCount val="9"/>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B$2:$B$10</c:f>
              <c:numCache>
                <c:formatCode>General</c:formatCode>
                <c:ptCount val="9"/>
                <c:pt idx="0">
                  <c:v>263.2381</c:v>
                </c:pt>
                <c:pt idx="2">
                  <c:v>197.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D$2:$D$10</c:f>
              <c:numCache>
                <c:formatCode>General</c:formatCode>
                <c:ptCount val="9"/>
                <c:pt idx="4">
                  <c:v>475.4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E$2:$E$10</c:f>
              <c:numCache>
                <c:formatCode>General</c:formatCode>
                <c:ptCount val="9"/>
                <c:pt idx="1">
                  <c:v>139.98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F$2:$F$10</c:f>
              <c:numCache>
                <c:formatCode>General</c:formatCode>
                <c:ptCount val="9"/>
                <c:pt idx="0">
                  <c:v>182.4925</c:v>
                </c:pt>
                <c:pt idx="1">
                  <c:v>208.25</c:v>
                </c:pt>
                <c:pt idx="7">
                  <c:v>513.29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G$2:$G$10</c:f>
              <c:numCache>
                <c:formatCode>General</c:formatCode>
                <c:ptCount val="9"/>
                <c:pt idx="3">
                  <c:v>174.7715</c:v>
                </c:pt>
                <c:pt idx="7">
                  <c:v>143.35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H$2:$H$10</c:f>
              <c:numCache>
                <c:formatCode>General</c:formatCode>
                <c:ptCount val="9"/>
                <c:pt idx="0">
                  <c:v>249.4224</c:v>
                </c:pt>
                <c:pt idx="3">
                  <c:v>271.4586</c:v>
                </c:pt>
                <c:pt idx="8">
                  <c:v>684.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I$2:$I$10</c:f>
              <c:numCache>
                <c:formatCode>General</c:formatCode>
                <c:ptCount val="9"/>
                <c:pt idx="1">
                  <c:v>276.765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J$2:$J$10</c:f>
              <c:numCache>
                <c:formatCode>General</c:formatCode>
                <c:ptCount val="9"/>
                <c:pt idx="0">
                  <c:v>243.7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K$2:$K$10</c:f>
              <c:numCache>
                <c:formatCode>General</c:formatCode>
                <c:ptCount val="9"/>
                <c:pt idx="0">
                  <c:v>266.5653</c:v>
                </c:pt>
                <c:pt idx="1">
                  <c:v>261.0556</c:v>
                </c:pt>
                <c:pt idx="2">
                  <c:v>522.289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L$2:$L$10</c:f>
              <c:numCache>
                <c:formatCode>General</c:formatCode>
                <c:ptCount val="9"/>
                <c:pt idx="3">
                  <c:v>275.4948</c:v>
                </c:pt>
                <c:pt idx="4">
                  <c:v>628.532</c:v>
                </c:pt>
                <c:pt idx="6">
                  <c:v>721.5475</c:v>
                </c:pt>
                <c:pt idx="8">
                  <c:v>719.383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M$2:$M$10</c:f>
              <c:numCache>
                <c:formatCode>General</c:formatCode>
                <c:ptCount val="9"/>
                <c:pt idx="0">
                  <c:v>277.8749</c:v>
                </c:pt>
                <c:pt idx="1">
                  <c:v>273.748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N$2:$N$10</c:f>
              <c:numCache>
                <c:formatCode>General</c:formatCode>
                <c:ptCount val="9"/>
                <c:pt idx="1">
                  <c:v>246.509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O$2:$O$10</c:f>
              <c:numCache>
                <c:formatCode>General</c:formatCode>
                <c:ptCount val="9"/>
                <c:pt idx="0">
                  <c:v>264.1204</c:v>
                </c:pt>
                <c:pt idx="1">
                  <c:v>239.532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P$2:$P$10</c:f>
              <c:numCache>
                <c:formatCode>General</c:formatCode>
                <c:ptCount val="9"/>
                <c:pt idx="4">
                  <c:v>631.390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Q$2:$Q$10</c:f>
              <c:numCache>
                <c:formatCode>General</c:formatCode>
                <c:ptCount val="9"/>
                <c:pt idx="0">
                  <c:v>38.1935</c:v>
                </c:pt>
                <c:pt idx="1">
                  <c:v>38.300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R$2:$R$10</c:f>
              <c:numCache>
                <c:formatCode>General</c:formatCode>
                <c:ptCount val="9"/>
                <c:pt idx="3">
                  <c:v>263.0861</c:v>
                </c:pt>
                <c:pt idx="7">
                  <c:v>522.386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S$2:$S$10</c:f>
              <c:numCache>
                <c:formatCode>General</c:formatCode>
                <c:ptCount val="9"/>
                <c:pt idx="0">
                  <c:v>231.5438</c:v>
                </c:pt>
                <c:pt idx="1">
                  <c:v>270.2126</c:v>
                </c:pt>
                <c:pt idx="2">
                  <c:v>208.5341</c:v>
                </c:pt>
                <c:pt idx="3">
                  <c:v>248.5054</c:v>
                </c:pt>
                <c:pt idx="4">
                  <c:v>622.7653</c:v>
                </c:pt>
                <c:pt idx="5">
                  <c:v>617.0494</c:v>
                </c:pt>
                <c:pt idx="6">
                  <c:v>646.5661</c:v>
                </c:pt>
                <c:pt idx="7">
                  <c:v>526.5017</c:v>
                </c:pt>
                <c:pt idx="8">
                  <c:v>652.145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T$2:$T$10</c:f>
              <c:numCache>
                <c:formatCode>General</c:formatCode>
                <c:ptCount val="9"/>
                <c:pt idx="0">
                  <c:v>91.6395</c:v>
                </c:pt>
                <c:pt idx="1">
                  <c:v>84.8929</c:v>
                </c:pt>
                <c:pt idx="7">
                  <c:v>159.322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U$2:$U$10</c:f>
              <c:numCache>
                <c:formatCode>General</c:formatCode>
                <c:ptCount val="9"/>
                <c:pt idx="1">
                  <c:v>206.1407</c:v>
                </c:pt>
                <c:pt idx="5">
                  <c:v>519.7577</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V$2:$V$10</c:f>
              <c:numCache>
                <c:formatCode>General</c:formatCode>
                <c:ptCount val="9"/>
                <c:pt idx="0">
                  <c:v>97.114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79</a:t>
                    </a:r>
                  </a:p>
                </c:rich>
              </c:tx>
              <c:dLblPos val="t"/>
              <c:showLegendKey val="0"/>
              <c:showVal val="1"/>
              <c:showCatName val="0"/>
              <c:showSerName val="0"/>
              <c:showPercent val="0"/>
              <c:showBubbleSize val="0"/>
            </c:dLbl>
            <c:dLbl>
              <c:idx val="1"/>
              <c:tx>
                <c:rich>
                  <a:bodyPr/>
                  <a:lstStyle/>
                  <a:p>
                    <a:r>
                      <a:t>307.77</a:t>
                    </a:r>
                  </a:p>
                </c:rich>
              </c:tx>
              <c:dLblPos val="t"/>
              <c:showLegendKey val="0"/>
              <c:showVal val="1"/>
              <c:showCatName val="0"/>
              <c:showSerName val="0"/>
              <c:showPercent val="0"/>
              <c:showBubbleSize val="0"/>
            </c:dLbl>
            <c:dLbl>
              <c:idx val="2"/>
              <c:tx>
                <c:rich>
                  <a:bodyPr/>
                  <a:lstStyle/>
                  <a:p>
                    <a:r>
                      <a:t>271.52</a:t>
                    </a:r>
                  </a:p>
                </c:rich>
              </c:tx>
              <c:dLblPos val="t"/>
              <c:showLegendKey val="0"/>
              <c:showVal val="1"/>
              <c:showCatName val="0"/>
              <c:showSerName val="0"/>
              <c:showPercent val="0"/>
              <c:showBubbleSize val="0"/>
            </c:dLbl>
            <c:dLbl>
              <c:idx val="3"/>
              <c:tx>
                <c:rich>
                  <a:bodyPr/>
                  <a:lstStyle/>
                  <a:p>
                    <a:r>
                      <a:t>264.78</a:t>
                    </a:r>
                  </a:p>
                </c:rich>
              </c:tx>
              <c:dLblPos val="t"/>
              <c:showLegendKey val="0"/>
              <c:showVal val="1"/>
              <c:showCatName val="0"/>
              <c:showSerName val="0"/>
              <c:showPercent val="0"/>
              <c:showBubbleSize val="0"/>
            </c:dLbl>
            <c:dLbl>
              <c:idx val="4"/>
              <c:tx>
                <c:rich>
                  <a:bodyPr/>
                  <a:lstStyle/>
                  <a:p>
                    <a:r>
                      <a:t>308.34</a:t>
                    </a:r>
                  </a:p>
                </c:rich>
              </c:tx>
              <c:dLblPos val="t"/>
              <c:showLegendKey val="0"/>
              <c:showVal val="1"/>
              <c:showCatName val="0"/>
              <c:showSerName val="0"/>
              <c:showPercent val="0"/>
              <c:showBubbleSize val="0"/>
            </c:dLbl>
            <c:dLbl>
              <c:idx val="5"/>
              <c:tx>
                <c:rich>
                  <a:bodyPr/>
                  <a:lstStyle/>
                  <a:p>
                    <a:r>
                      <a:t>308.59</a:t>
                    </a:r>
                  </a:p>
                </c:rich>
              </c:tx>
              <c:dLblPos val="t"/>
              <c:showLegendKey val="0"/>
              <c:showVal val="1"/>
              <c:showCatName val="0"/>
              <c:showSerName val="0"/>
              <c:showPercent val="0"/>
              <c:showBubbleSize val="0"/>
            </c:dLbl>
            <c:dLbl>
              <c:idx val="6"/>
              <c:tx>
                <c:rich>
                  <a:bodyPr/>
                  <a:lstStyle/>
                  <a:p>
                    <a:r>
                      <a:t>275.98</a:t>
                    </a:r>
                  </a:p>
                </c:rich>
              </c:tx>
              <c:dLblPos val="t"/>
              <c:showLegendKey val="0"/>
              <c:showVal val="1"/>
              <c:showCatName val="0"/>
              <c:showSerName val="0"/>
              <c:showPercent val="0"/>
              <c:showBubbleSize val="0"/>
            </c:dLbl>
            <c:dLbl>
              <c:idx val="7"/>
              <c:tx>
                <c:rich>
                  <a:bodyPr/>
                  <a:lstStyle/>
                  <a:p>
                    <a:r>
                      <a:t>87.0</a:t>
                    </a:r>
                  </a:p>
                </c:rich>
              </c:tx>
              <c:dLblPos val="t"/>
              <c:showLegendKey val="0"/>
              <c:showVal val="1"/>
              <c:showCatName val="0"/>
              <c:showSerName val="0"/>
              <c:showPercent val="0"/>
              <c:showBubbleSize val="0"/>
            </c:dLbl>
            <c:dLbl>
              <c:idx val="8"/>
              <c:tx>
                <c:rich>
                  <a:bodyPr/>
                  <a:lstStyle/>
                  <a:p>
                    <a:r>
                      <a:t>306.38</a:t>
                    </a:r>
                  </a:p>
                </c:rich>
              </c:tx>
              <c:dLblPos val="t"/>
              <c:showLegendKey val="0"/>
              <c:showVal val="1"/>
              <c:showCatName val="0"/>
              <c:showSerName val="0"/>
              <c:showPercent val="0"/>
              <c:showBubbleSize val="0"/>
            </c:dLbl>
            <c:dLbl>
              <c:idx val="9"/>
              <c:tx>
                <c:rich>
                  <a:bodyPr/>
                  <a:lstStyle/>
                  <a:p>
                    <a:r>
                      <a:t>239.97</a:t>
                    </a:r>
                  </a:p>
                </c:rich>
              </c:tx>
              <c:dLblPos val="t"/>
              <c:showLegendKey val="0"/>
              <c:showVal val="1"/>
              <c:showCatName val="0"/>
              <c:showSerName val="0"/>
              <c:showPercent val="0"/>
              <c:showBubbleSize val="0"/>
            </c:dLbl>
            <c:dLbl>
              <c:idx val="10"/>
              <c:tx>
                <c:rich>
                  <a:bodyPr/>
                  <a:lstStyle/>
                  <a:p>
                    <a:r>
                      <a:t>246.36</a:t>
                    </a:r>
                  </a:p>
                </c:rich>
              </c:tx>
              <c:dLblPos val="t"/>
              <c:showLegendKey val="0"/>
              <c:showVal val="1"/>
              <c:showCatName val="0"/>
              <c:showSerName val="0"/>
              <c:showPercent val="0"/>
              <c:showBubbleSize val="0"/>
            </c:dLbl>
            <c:dLbl>
              <c:idx val="11"/>
              <c:tx>
                <c:rich>
                  <a:bodyPr/>
                  <a:lstStyle/>
                  <a:p>
                    <a:r>
                      <a:t>306.48</a:t>
                    </a:r>
                  </a:p>
                </c:rich>
              </c:tx>
              <c:dLblPos val="t"/>
              <c:showLegendKey val="0"/>
              <c:showVal val="1"/>
              <c:showCatName val="0"/>
              <c:showSerName val="0"/>
              <c:showPercent val="0"/>
              <c:showBubbleSize val="0"/>
            </c:dLbl>
            <c:dLbl>
              <c:idx val="12"/>
              <c:tx>
                <c:rich>
                  <a:bodyPr/>
                  <a:lstStyle/>
                  <a:p>
                    <a:r>
                      <a:t>305.64</a:t>
                    </a:r>
                  </a:p>
                </c:rich>
              </c:tx>
              <c:dLblPos val="t"/>
              <c:showLegendKey val="0"/>
              <c:showVal val="1"/>
              <c:showCatName val="0"/>
              <c:showSerName val="0"/>
              <c:showPercent val="0"/>
              <c:showBubbleSize val="0"/>
            </c:dLbl>
            <c:dLbl>
              <c:idx val="13"/>
              <c:tx>
                <c:rich>
                  <a:bodyPr/>
                  <a:lstStyle/>
                  <a:p>
                    <a:r>
                      <a:t>287.58</a:t>
                    </a:r>
                  </a:p>
                </c:rich>
              </c:tx>
              <c:dLblPos val="t"/>
              <c:showLegendKey val="0"/>
              <c:showVal val="1"/>
              <c:showCatName val="0"/>
              <c:showSerName val="0"/>
              <c:showPercent val="0"/>
              <c:showBubbleSize val="0"/>
            </c:dLbl>
            <c:dLbl>
              <c:idx val="14"/>
              <c:tx>
                <c:rich>
                  <a:bodyPr/>
                  <a:lstStyle/>
                  <a:p>
                    <a:r>
                      <a:t>130.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qua Protect Sunscreen Adults Cosmetics Spray Liquido 50+ 170Ml</c:v>
                </c:pt>
                <c:pt idx="6">
                  <c:v>Edgewell Banana Boat Advanced Protection Sunscreen Adults Cosmetics Liquido 50+ 240Ml</c:v>
                </c:pt>
                <c:pt idx="7">
                  <c:v>Edgewell Banana Boat Advanced Protection Sunscreen Adults Cosmetics Liquido 50+ 60Ml</c:v>
                </c:pt>
                <c:pt idx="8">
                  <c:v>Edgewell Banana Boat Mineral Sunscreen Adults Cosmetics Locion 50 180Ml</c:v>
                </c:pt>
                <c:pt idx="9">
                  <c:v>Edgewell Banana Boat Kids Sport Sunscreen Kids Cosmetics Crema 50 180Ml</c:v>
                </c:pt>
                <c:pt idx="10">
                  <c:v>Edgewell Banana Boat Advanced Protection Sunscreen Adults Cosmetics Liquido 50 180Ml</c:v>
                </c:pt>
                <c:pt idx="11">
                  <c:v>Edgewell Banana Boat Mineral Sunscreen Adults Sport Locion 50 180Ml</c:v>
                </c:pt>
                <c:pt idx="12">
                  <c:v>Edgewell Banana Boat Mineral Sunscreen Kids Cosmetics Locion 50 180Ml</c:v>
                </c:pt>
                <c:pt idx="13">
                  <c:v>Edgewell Banana Boat Dry Balance Sunscreen Adults Sport Crema 50+ 180Ml</c:v>
                </c:pt>
                <c:pt idx="14">
                  <c:v>Edgewell Banana Boat After Sun After Sun Adults Cosmetics Gel 0 - 5 230Ml</c:v>
                </c:pt>
              </c:strCache>
            </c:strRef>
          </c:cat>
          <c:val>
            <c:numRef>
              <c:f>Sheet1!$B$2:$B$16</c:f>
              <c:numCache>
                <c:formatCode>General</c:formatCode>
                <c:ptCount val="15"/>
                <c:pt idx="0">
                  <c:v>270.79</c:v>
                </c:pt>
                <c:pt idx="1">
                  <c:v>307.77</c:v>
                </c:pt>
                <c:pt idx="2">
                  <c:v>271.52</c:v>
                </c:pt>
                <c:pt idx="3">
                  <c:v>264.78</c:v>
                </c:pt>
                <c:pt idx="4">
                  <c:v>308.34</c:v>
                </c:pt>
                <c:pt idx="5">
                  <c:v>308.59</c:v>
                </c:pt>
                <c:pt idx="6">
                  <c:v>275.98</c:v>
                </c:pt>
                <c:pt idx="7">
                  <c:v>87.0</c:v>
                </c:pt>
                <c:pt idx="8">
                  <c:v>306.38</c:v>
                </c:pt>
                <c:pt idx="9">
                  <c:v>239.97</c:v>
                </c:pt>
                <c:pt idx="10">
                  <c:v>246.36</c:v>
                </c:pt>
                <c:pt idx="11">
                  <c:v>306.48</c:v>
                </c:pt>
                <c:pt idx="12">
                  <c:v>305.64</c:v>
                </c:pt>
                <c:pt idx="13">
                  <c:v>287.58</c:v>
                </c:pt>
                <c:pt idx="14">
                  <c:v>130.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7.6563</c:v>
                </c:pt>
                <c:pt idx="2">
                  <c:v>199.45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80.52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40.18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7601</c:v>
                </c:pt>
                <c:pt idx="1">
                  <c:v>208.25</c:v>
                </c:pt>
                <c:pt idx="8">
                  <c:v>509.1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3.08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52.9382</c:v>
                </c:pt>
                <c:pt idx="3">
                  <c:v>270.2144</c:v>
                </c:pt>
                <c:pt idx="7">
                  <c:v>689.66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81.02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6.50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0">
                  <c:v>272.2186</c:v>
                </c:pt>
                <c:pt idx="1">
                  <c:v>264.3496</c:v>
                </c:pt>
                <c:pt idx="2">
                  <c:v>551.16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3">
                  <c:v>275.9941</c:v>
                </c:pt>
                <c:pt idx="4">
                  <c:v>635.3463</c:v>
                </c:pt>
                <c:pt idx="6">
                  <c:v>733.907</c:v>
                </c:pt>
                <c:pt idx="7">
                  <c:v>738.8873</c:v>
                </c:pt>
                <c:pt idx="8">
                  <c:v>153.53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284.361</c:v>
                </c:pt>
                <c:pt idx="1">
                  <c:v>274.95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1">
                  <c:v>249.6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0">
                  <c:v>265.9518</c:v>
                </c:pt>
                <c:pt idx="1">
                  <c:v>243.669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4">
                  <c:v>636.317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3">
                  <c:v>262.6641</c:v>
                </c:pt>
                <c:pt idx="7">
                  <c:v>774.5679</c:v>
                </c:pt>
                <c:pt idx="8">
                  <c:v>529.596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0">
                  <c:v>234.5103</c:v>
                </c:pt>
                <c:pt idx="1">
                  <c:v>272.3561</c:v>
                </c:pt>
                <c:pt idx="2">
                  <c:v>208.892</c:v>
                </c:pt>
                <c:pt idx="3">
                  <c:v>247.4402</c:v>
                </c:pt>
                <c:pt idx="4">
                  <c:v>620.6019</c:v>
                </c:pt>
                <c:pt idx="5">
                  <c:v>624.9672</c:v>
                </c:pt>
                <c:pt idx="6">
                  <c:v>655.668</c:v>
                </c:pt>
                <c:pt idx="7">
                  <c:v>659.1186</c:v>
                </c:pt>
                <c:pt idx="8">
                  <c:v>702.532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92.5038</c:v>
                </c:pt>
                <c:pt idx="1">
                  <c:v>84.734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1">
                  <c:v>207.7195</c:v>
                </c:pt>
                <c:pt idx="5">
                  <c:v>527.99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0">
                  <c:v>97.155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B$2:$B$10</c:f>
              <c:numCache>
                <c:formatCode>General</c:formatCode>
                <c:ptCount val="9"/>
                <c:pt idx="0">
                  <c:v>364.9119</c:v>
                </c:pt>
                <c:pt idx="2">
                  <c:v>39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D$2:$D$10</c:f>
              <c:numCache>
                <c:formatCode>General</c:formatCode>
                <c:ptCount val="9"/>
                <c:pt idx="3">
                  <c:v>489.36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E$2:$E$10</c:f>
              <c:numCache>
                <c:formatCode>General</c:formatCode>
                <c:ptCount val="9"/>
                <c:pt idx="1">
                  <c:v>361.2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F$2:$F$10</c:f>
              <c:numCache>
                <c:formatCode>General</c:formatCode>
                <c:ptCount val="9"/>
                <c:pt idx="0">
                  <c:v>182.863</c:v>
                </c:pt>
                <c:pt idx="1">
                  <c:v>208.25</c:v>
                </c:pt>
                <c:pt idx="8">
                  <c:v>665.32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G$2:$G$10</c:f>
              <c:numCache>
                <c:formatCode>General</c:formatCode>
                <c:ptCount val="9"/>
                <c:pt idx="6">
                  <c:v>170.668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H$2:$H$10</c:f>
              <c:numCache>
                <c:formatCode>General</c:formatCode>
                <c:ptCount val="9"/>
                <c:pt idx="0">
                  <c:v>263.8422</c:v>
                </c:pt>
                <c:pt idx="7">
                  <c:v>709.892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I$2:$I$10</c:f>
              <c:numCache>
                <c:formatCode>General</c:formatCode>
                <c:ptCount val="9"/>
                <c:pt idx="1">
                  <c:v>322.296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J$2:$J$10</c:f>
              <c:numCache>
                <c:formatCode>General</c:formatCode>
                <c:ptCount val="9"/>
                <c:pt idx="0">
                  <c:v>247.3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K$2:$K$10</c:f>
              <c:numCache>
                <c:formatCode>General</c:formatCode>
                <c:ptCount val="9"/>
                <c:pt idx="0">
                  <c:v>291.4993</c:v>
                </c:pt>
                <c:pt idx="1">
                  <c:v>312.3822</c:v>
                </c:pt>
                <c:pt idx="2">
                  <c:v>551.16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L$2:$L$10</c:f>
              <c:numCache>
                <c:formatCode>General</c:formatCode>
                <c:ptCount val="9"/>
                <c:pt idx="3">
                  <c:v>650.6767</c:v>
                </c:pt>
                <c:pt idx="5">
                  <c:v>756.3559</c:v>
                </c:pt>
                <c:pt idx="6">
                  <c:v>336.3758</c:v>
                </c:pt>
                <c:pt idx="7">
                  <c:v>768.6753</c:v>
                </c:pt>
                <c:pt idx="8">
                  <c:v>250.534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M$2:$M$10</c:f>
              <c:numCache>
                <c:formatCode>General</c:formatCode>
                <c:ptCount val="9"/>
                <c:pt idx="0">
                  <c:v>303.9672</c:v>
                </c:pt>
                <c:pt idx="1">
                  <c:v>297.132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N$2:$N$10</c:f>
              <c:numCache>
                <c:formatCode>General</c:formatCode>
                <c:ptCount val="9"/>
                <c:pt idx="1">
                  <c:v>287.884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O$2:$O$10</c:f>
              <c:numCache>
                <c:formatCode>General</c:formatCode>
                <c:ptCount val="9"/>
                <c:pt idx="0">
                  <c:v>287.3443</c:v>
                </c:pt>
                <c:pt idx="1">
                  <c:v>279.2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P$2:$P$10</c:f>
              <c:numCache>
                <c:formatCode>General</c:formatCode>
                <c:ptCount val="9"/>
                <c:pt idx="3">
                  <c:v>643.716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Q$2:$Q$10</c:f>
              <c:numCache>
                <c:formatCode>General</c:formatCode>
                <c:ptCount val="9"/>
                <c:pt idx="6">
                  <c:v>300.5167</c:v>
                </c:pt>
                <c:pt idx="7">
                  <c:v>787.5763</c:v>
                </c:pt>
                <c:pt idx="8">
                  <c:v>547.59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R$2:$R$10</c:f>
              <c:numCache>
                <c:formatCode>General</c:formatCode>
                <c:ptCount val="9"/>
                <c:pt idx="0">
                  <c:v>340.8083</c:v>
                </c:pt>
                <c:pt idx="1">
                  <c:v>342.1964</c:v>
                </c:pt>
                <c:pt idx="2">
                  <c:v>277.0625</c:v>
                </c:pt>
                <c:pt idx="3">
                  <c:v>630.0928</c:v>
                </c:pt>
                <c:pt idx="4">
                  <c:v>633.258</c:v>
                </c:pt>
                <c:pt idx="5">
                  <c:v>674.2555</c:v>
                </c:pt>
                <c:pt idx="6">
                  <c:v>300.2204</c:v>
                </c:pt>
                <c:pt idx="7">
                  <c:v>683.8778</c:v>
                </c:pt>
                <c:pt idx="8">
                  <c:v>954.86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S$2:$S$10</c:f>
              <c:numCache>
                <c:formatCode>General</c:formatCode>
                <c:ptCount val="9"/>
                <c:pt idx="0">
                  <c:v>64.4328</c:v>
                </c:pt>
                <c:pt idx="1">
                  <c:v>69.1222</c:v>
                </c:pt>
                <c:pt idx="8">
                  <c:v>285.12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T$2:$T$10</c:f>
              <c:numCache>
                <c:formatCode>General</c:formatCode>
                <c:ptCount val="9"/>
                <c:pt idx="1">
                  <c:v>268.0921</c:v>
                </c:pt>
                <c:pt idx="4">
                  <c:v>548.478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U$2:$U$10</c:f>
              <c:numCache>
                <c:formatCode>General</c:formatCode>
                <c:ptCount val="9"/>
                <c:pt idx="0">
                  <c:v>123.728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B$2:$B$10</c:f>
              <c:numCache>
                <c:formatCode>General</c:formatCode>
                <c:ptCount val="9"/>
                <c:pt idx="2">
                  <c:v>205.88</c:v>
                </c:pt>
                <c:pt idx="4">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C$2:$C$10</c:f>
              <c:numCache>
                <c:formatCode>General</c:formatCode>
                <c:ptCount val="9"/>
                <c:pt idx="1">
                  <c:v>156.2336</c:v>
                </c:pt>
                <c:pt idx="7">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D$2:$D$10</c:f>
              <c:numCache>
                <c:formatCode>General</c:formatCode>
                <c:ptCount val="9"/>
                <c:pt idx="3">
                  <c:v>169.5379</c:v>
                </c:pt>
                <c:pt idx="4">
                  <c:v>135.8572</c:v>
                </c:pt>
                <c:pt idx="8">
                  <c:v>291.0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E$2:$E$10</c:f>
              <c:numCache>
                <c:formatCode>General</c:formatCode>
                <c:ptCount val="9"/>
                <c:pt idx="3">
                  <c:v>280.4306</c:v>
                </c:pt>
                <c:pt idx="6">
                  <c:v>90.70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F$2:$F$10</c:f>
              <c:numCache>
                <c:formatCode>General</c:formatCode>
                <c:ptCount val="9"/>
                <c:pt idx="0">
                  <c:v>283.3078</c:v>
                </c:pt>
                <c:pt idx="4">
                  <c:v>154.50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G$2:$G$10</c:f>
              <c:numCache>
                <c:formatCode>General</c:formatCode>
                <c:ptCount val="9"/>
                <c:pt idx="0">
                  <c:v>210.1855</c:v>
                </c:pt>
                <c:pt idx="1">
                  <c:v>195.66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H$2:$H$10</c:f>
              <c:numCache>
                <c:formatCode>General</c:formatCode>
                <c:ptCount val="9"/>
                <c:pt idx="3">
                  <c:v>277.87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I$2:$I$10</c:f>
              <c:numCache>
                <c:formatCode>General</c:formatCode>
                <c:ptCount val="9"/>
                <c:pt idx="1">
                  <c:v>22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J$2:$J$10</c:f>
              <c:numCache>
                <c:formatCode>General</c:formatCode>
                <c:ptCount val="9"/>
                <c:pt idx="0">
                  <c:v>241.74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K$2:$K$10</c:f>
              <c:numCache>
                <c:formatCode>General</c:formatCode>
                <c:ptCount val="9"/>
                <c:pt idx="0">
                  <c:v>157.9333</c:v>
                </c:pt>
                <c:pt idx="1">
                  <c:v>227.99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L$2:$L$10</c:f>
              <c:numCache>
                <c:formatCode>General</c:formatCode>
                <c:ptCount val="9"/>
                <c:pt idx="5">
                  <c:v>465.668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M$2:$M$10</c:f>
              <c:numCache>
                <c:formatCode>General</c:formatCode>
                <c:ptCount val="9"/>
                <c:pt idx="3">
                  <c:v>254.46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N$2:$N$10</c:f>
              <c:numCache>
                <c:formatCode>General</c:formatCode>
                <c:ptCount val="9"/>
                <c:pt idx="3">
                  <c:v>231.3578</c:v>
                </c:pt>
                <c:pt idx="4">
                  <c:v>92.8092</c:v>
                </c:pt>
                <c:pt idx="5">
                  <c:v>447.85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O$2:$O$10</c:f>
              <c:numCache>
                <c:formatCode>General</c:formatCode>
                <c:ptCount val="9"/>
                <c:pt idx="0">
                  <c:v>120.8929</c:v>
                </c:pt>
                <c:pt idx="1">
                  <c:v>97.0141</c:v>
                </c:pt>
                <c:pt idx="4">
                  <c:v>97.3934</c:v>
                </c:pt>
                <c:pt idx="6">
                  <c:v>50.78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P$2:$P$10</c:f>
              <c:numCache>
                <c:formatCode>General</c:formatCode>
                <c:ptCount val="9"/>
                <c:pt idx="1">
                  <c:v>88.51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699</c:v>
                </c:pt>
                <c:pt idx="5">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5.09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38.7825</c:v>
                </c:pt>
                <c:pt idx="3">
                  <c:v>253.576</c:v>
                </c:pt>
                <c:pt idx="6">
                  <c:v>106.7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68.65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67.79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68.1027</c:v>
                </c:pt>
                <c:pt idx="1">
                  <c:v>243.32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3">
                  <c:v>262.1006</c:v>
                </c:pt>
                <c:pt idx="4">
                  <c:v>594.2317</c:v>
                </c:pt>
                <c:pt idx="5">
                  <c:v>304.4295</c:v>
                </c:pt>
                <c:pt idx="7">
                  <c:v>106.34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70.0428</c:v>
                </c:pt>
                <c:pt idx="1">
                  <c:v>259.8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242.753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0">
                  <c:v>257.9377</c:v>
                </c:pt>
                <c:pt idx="1">
                  <c:v>230.55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4">
                  <c:v>599.6027</c:v>
                </c:pt>
                <c:pt idx="6">
                  <c:v>129.469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3">
                  <c:v>245.8582</c:v>
                </c:pt>
                <c:pt idx="5">
                  <c:v>306.643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0">
                  <c:v>222.5471</c:v>
                </c:pt>
                <c:pt idx="1">
                  <c:v>269.4524</c:v>
                </c:pt>
                <c:pt idx="2">
                  <c:v>206.8187</c:v>
                </c:pt>
                <c:pt idx="3">
                  <c:v>231.7299</c:v>
                </c:pt>
                <c:pt idx="4">
                  <c:v>582.9502</c:v>
                </c:pt>
                <c:pt idx="8">
                  <c:v>566.588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0">
                  <c:v>102.21</c:v>
                </c:pt>
                <c:pt idx="1">
                  <c:v>106.6671</c:v>
                </c:pt>
                <c:pt idx="6">
                  <c:v>32.78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1">
                  <c:v>204.058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6">
                  <c:v>124.91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1">
                  <c:v>193.79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1">
                  <c:v>334.54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1">
                  <c:v>364.48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0">
                  <c:v>395.63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F$2:$F$3</c:f>
              <c:numCache>
                <c:formatCode>General</c:formatCode>
                <c:ptCount val="2"/>
                <c:pt idx="1">
                  <c:v>140.51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08.78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B$2:$B$9</c:f>
              <c:numCache>
                <c:formatCode>General</c:formatCode>
                <c:ptCount val="8"/>
                <c:pt idx="3">
                  <c:v>96.7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C$2:$C$9</c:f>
              <c:numCache>
                <c:formatCode>General</c:formatCode>
                <c:ptCount val="8"/>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D$2:$D$9</c:f>
              <c:numCache>
                <c:formatCode>General</c:formatCode>
                <c:ptCount val="8"/>
                <c:pt idx="1">
                  <c:v>96.0</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E$2:$E$9</c:f>
              <c:numCache>
                <c:formatCode>General</c:formatCode>
                <c:ptCount val="8"/>
                <c:pt idx="0">
                  <c:v>181.8237</c:v>
                </c:pt>
                <c:pt idx="1">
                  <c:v>208.25</c:v>
                </c:pt>
                <c:pt idx="5">
                  <c:v>76.38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F$2:$F$9</c:f>
              <c:numCache>
                <c:formatCode>General</c:formatCode>
                <c:ptCount val="8"/>
                <c:pt idx="3">
                  <c:v>139.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G$2:$G$9</c:f>
              <c:numCache>
                <c:formatCode>General</c:formatCode>
                <c:ptCount val="8"/>
                <c:pt idx="4">
                  <c:v>100.8345</c:v>
                </c:pt>
                <c:pt idx="7">
                  <c:v>90.36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H$2:$H$9</c:f>
              <c:numCache>
                <c:formatCode>General</c:formatCode>
                <c:ptCount val="8"/>
                <c:pt idx="1">
                  <c:v>23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I$2:$I$9</c:f>
              <c:numCache>
                <c:formatCode>General</c:formatCode>
                <c:ptCount val="8"/>
                <c:pt idx="0">
                  <c:v>221.744</c:v>
                </c:pt>
                <c:pt idx="1">
                  <c:v>220.09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J$2:$J$9</c:f>
              <c:numCache>
                <c:formatCode>General</c:formatCode>
                <c:ptCount val="8"/>
                <c:pt idx="2">
                  <c:v>272.2743</c:v>
                </c:pt>
                <c:pt idx="3">
                  <c:v>138.864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K$2:$K$9</c:f>
              <c:numCache>
                <c:formatCode>General</c:formatCode>
                <c:ptCount val="8"/>
                <c:pt idx="1">
                  <c:v>243.966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L$2:$L$9</c:f>
              <c:numCache>
                <c:formatCode>General</c:formatCode>
                <c:ptCount val="8"/>
                <c:pt idx="1">
                  <c:v>243.346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M$2:$M$9</c:f>
              <c:numCache>
                <c:formatCode>General</c:formatCode>
                <c:ptCount val="8"/>
                <c:pt idx="0">
                  <c:v>264.637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N$2:$N$9</c:f>
              <c:numCache>
                <c:formatCode>General</c:formatCode>
                <c:ptCount val="8"/>
                <c:pt idx="4">
                  <c:v>123.735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O$2:$O$9</c:f>
              <c:numCache>
                <c:formatCode>General</c:formatCode>
                <c:ptCount val="8"/>
                <c:pt idx="1">
                  <c:v>5.0</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P$2:$P$9</c:f>
              <c:numCache>
                <c:formatCode>General</c:formatCode>
                <c:ptCount val="8"/>
                <c:pt idx="2">
                  <c:v>263.8696</c:v>
                </c:pt>
                <c:pt idx="6">
                  <c:v>187.777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Q$2:$Q$9</c:f>
              <c:numCache>
                <c:formatCode>General</c:formatCode>
                <c:ptCount val="8"/>
                <c:pt idx="2">
                  <c:v>248.5054</c:v>
                </c:pt>
                <c:pt idx="3">
                  <c:v>171.284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R$2:$R$9</c:f>
              <c:numCache>
                <c:formatCode>General</c:formatCode>
                <c:ptCount val="8"/>
                <c:pt idx="1">
                  <c:v>43.5111</c:v>
                </c:pt>
                <c:pt idx="4">
                  <c:v>34.985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S$2:$S$9</c:f>
              <c:numCache>
                <c:formatCode>General</c:formatCode>
                <c:ptCount val="8"/>
                <c:pt idx="4">
                  <c:v>124.759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Nuvel</c:v>
                </c:pt>
                <c:pt idx="6">
                  <c:v>Garnier</c:v>
                </c:pt>
                <c:pt idx="7">
                  <c:v>Inds.Lavin De Mexico: All Others</c:v>
                </c:pt>
              </c:strCache>
            </c:strRef>
          </c:cat>
          <c:val>
            <c:numRef>
              <c:f>Sheet1!$T$2:$T$9</c:f>
              <c:numCache>
                <c:formatCode>General</c:formatCode>
                <c:ptCount val="8"/>
                <c:pt idx="0">
                  <c:v>104.1795</c:v>
                </c:pt>
                <c:pt idx="3">
                  <c:v>80.979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waiian Tropic</c:v>
                </c:pt>
              </c:strCache>
            </c:strRef>
          </c:cat>
          <c:val>
            <c:numRef>
              <c:f>Sheet1!$B$2:$B$2</c:f>
              <c:numCache>
                <c:formatCode>General</c:formatCode>
                <c:ptCount val="1"/>
                <c:pt idx="0">
                  <c:v>38.193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Nivea</c:v>
                </c:pt>
              </c:strCache>
            </c:strRef>
          </c:cat>
          <c:val>
            <c:numRef>
              <c:f>Sheet1!$B$2:$B$3</c:f>
              <c:numCache>
                <c:formatCode>General</c:formatCode>
                <c:ptCount val="2"/>
                <c:pt idx="1">
                  <c:v>261.59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ivea</c:v>
                </c:pt>
              </c:strCache>
            </c:strRef>
          </c:cat>
          <c:val>
            <c:numRef>
              <c:f>Sheet1!$C$2:$C$3</c:f>
              <c:numCache>
                <c:formatCode>General</c:formatCode>
                <c:ptCount val="2"/>
                <c:pt idx="0">
                  <c:v>270.212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71.45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76.357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04</a:t>
                    </a:r>
                  </a:p>
                </c:rich>
              </c:tx>
              <c:dLblPos val="t"/>
              <c:showLegendKey val="0"/>
              <c:showVal val="1"/>
              <c:showCatName val="0"/>
              <c:showSerName val="0"/>
              <c:showPercent val="0"/>
              <c:showBubbleSize val="0"/>
            </c:dLbl>
            <c:dLbl>
              <c:idx val="1"/>
              <c:tx>
                <c:rich>
                  <a:bodyPr/>
                  <a:lstStyle/>
                  <a:p>
                    <a:r>
                      <a:t>259.27</a:t>
                    </a:r>
                  </a:p>
                </c:rich>
              </c:tx>
              <c:dLblPos val="t"/>
              <c:showLegendKey val="0"/>
              <c:showVal val="1"/>
              <c:showCatName val="0"/>
              <c:showSerName val="0"/>
              <c:showPercent val="0"/>
              <c:showBubbleSize val="0"/>
            </c:dLbl>
            <c:dLbl>
              <c:idx val="2"/>
              <c:tx>
                <c:rich>
                  <a:bodyPr/>
                  <a:lstStyle/>
                  <a:p>
                    <a:r>
                      <a:t>245.05</a:t>
                    </a:r>
                  </a:p>
                </c:rich>
              </c:tx>
              <c:dLblPos val="t"/>
              <c:showLegendKey val="0"/>
              <c:showVal val="1"/>
              <c:showCatName val="0"/>
              <c:showSerName val="0"/>
              <c:showPercent val="0"/>
              <c:showBubbleSize val="0"/>
            </c:dLbl>
            <c:dLbl>
              <c:idx val="3"/>
              <c:tx>
                <c:rich>
                  <a:bodyPr/>
                  <a:lstStyle/>
                  <a:p>
                    <a:r>
                      <a:t>21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04</c:v>
                </c:pt>
                <c:pt idx="1">
                  <c:v>259.27</c:v>
                </c:pt>
                <c:pt idx="2">
                  <c:v>245.05</c:v>
                </c:pt>
                <c:pt idx="3">
                  <c:v>21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B$2:$B$6</c:f>
              <c:numCache>
                <c:formatCode>General</c:formatCode>
                <c:ptCount val="5"/>
                <c:pt idx="0">
                  <c:v>263.2381</c:v>
                </c:pt>
                <c:pt idx="2">
                  <c:v>197.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C$2:$C$6</c:f>
              <c:numCache>
                <c:formatCode>General</c:formatCode>
                <c:ptCount val="5"/>
                <c:pt idx="1">
                  <c:v>423.85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D$2:$D$6</c:f>
              <c:numCache>
                <c:formatCode>General</c:formatCode>
                <c:ptCount val="5"/>
                <c:pt idx="0">
                  <c:v>184.16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E$2:$E$6</c:f>
              <c:numCache>
                <c:formatCode>General</c:formatCode>
                <c:ptCount val="5"/>
                <c:pt idx="3">
                  <c:v>174.77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F$2:$F$6</c:f>
              <c:numCache>
                <c:formatCode>General</c:formatCode>
                <c:ptCount val="5"/>
                <c:pt idx="0">
                  <c:v>249.42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G$2:$G$6</c:f>
              <c:numCache>
                <c:formatCode>General</c:formatCode>
                <c:ptCount val="5"/>
                <c:pt idx="1">
                  <c:v>280.410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H$2:$H$6</c:f>
              <c:numCache>
                <c:formatCode>General</c:formatCode>
                <c:ptCount val="5"/>
                <c:pt idx="0">
                  <c:v>243.7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I$2:$I$6</c:f>
              <c:numCache>
                <c:formatCode>General</c:formatCode>
                <c:ptCount val="5"/>
                <c:pt idx="0">
                  <c:v>267.1381</c:v>
                </c:pt>
                <c:pt idx="1">
                  <c:v>208.1533</c:v>
                </c:pt>
                <c:pt idx="2">
                  <c:v>522.289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J$2:$J$6</c:f>
              <c:numCache>
                <c:formatCode>General</c:formatCode>
                <c:ptCount val="5"/>
                <c:pt idx="3">
                  <c:v>277.15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K$2:$K$6</c:f>
              <c:numCache>
                <c:formatCode>General</c:formatCode>
                <c:ptCount val="5"/>
                <c:pt idx="0">
                  <c:v>267.782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L$2:$L$6</c:f>
              <c:numCache>
                <c:formatCode>General</c:formatCode>
                <c:ptCount val="5"/>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M$2:$M$6</c:f>
              <c:numCache>
                <c:formatCode>General</c:formatCode>
                <c:ptCount val="5"/>
                <c:pt idx="0">
                  <c:v>261.7383</c:v>
                </c:pt>
                <c:pt idx="1">
                  <c:v>239.4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N$2:$N$6</c:f>
              <c:numCache>
                <c:formatCode>General</c:formatCode>
                <c:ptCount val="5"/>
                <c:pt idx="0">
                  <c:v>231.5438</c:v>
                </c:pt>
                <c:pt idx="2">
                  <c:v>208.5341</c:v>
                </c:pt>
                <c:pt idx="4">
                  <c:v>1086.785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O$2:$O$6</c:f>
              <c:numCache>
                <c:formatCode>General</c:formatCode>
                <c:ptCount val="5"/>
                <c:pt idx="0">
                  <c:v>117.1621</c:v>
                </c:pt>
                <c:pt idx="1">
                  <c:v>75.882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P$2:$P$6</c:f>
              <c:numCache>
                <c:formatCode>General</c:formatCode>
                <c:ptCount val="5"/>
                <c:pt idx="0">
                  <c:v>97.113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B$2:$B$7</c:f>
              <c:numCache>
                <c:formatCode>General</c:formatCode>
                <c:ptCount val="6"/>
                <c:pt idx="1">
                  <c:v>430.8623</c:v>
                </c:pt>
                <c:pt idx="3">
                  <c:v>139.43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C$2:$C$7</c:f>
              <c:numCache>
                <c:formatCode>General</c:formatCode>
                <c:ptCount val="6"/>
                <c:pt idx="0">
                  <c:v>139.79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D$2:$D$7</c:f>
              <c:numCache>
                <c:formatCode>General</c:formatCode>
                <c:ptCount val="6"/>
                <c:pt idx="0">
                  <c:v>291.37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E$2:$E$7</c:f>
              <c:numCache>
                <c:formatCode>General</c:formatCode>
                <c:ptCount val="6"/>
                <c:pt idx="0">
                  <c:v>287.50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F$2:$F$7</c:f>
              <c:numCache>
                <c:formatCode>General</c:formatCode>
                <c:ptCount val="6"/>
                <c:pt idx="4">
                  <c:v>264.61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1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G$2:$G$7</c:f>
              <c:numCache>
                <c:formatCode>General</c:formatCode>
                <c:ptCount val="6"/>
                <c:pt idx="5">
                  <c:v>268.632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H$2:$H$7</c:f>
              <c:numCache>
                <c:formatCode>General</c:formatCode>
                <c:ptCount val="6"/>
                <c:pt idx="0">
                  <c:v>236.08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I$2:$I$7</c:f>
              <c:numCache>
                <c:formatCode>General</c:formatCode>
                <c:ptCount val="6"/>
                <c:pt idx="2">
                  <c:v>261.69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J$2:$J$7</c:f>
              <c:numCache>
                <c:formatCode>General</c:formatCode>
                <c:ptCount val="6"/>
                <c:pt idx="0">
                  <c:v>38.356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K$2:$K$7</c:f>
              <c:numCache>
                <c:formatCode>General</c:formatCode>
                <c:ptCount val="6"/>
                <c:pt idx="1">
                  <c:v>387.624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L$2:$L$7</c:f>
              <c:numCache>
                <c:formatCode>General</c:formatCode>
                <c:ptCount val="6"/>
                <c:pt idx="0">
                  <c:v>249.65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9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M$2:$M$7</c:f>
              <c:numCache>
                <c:formatCode>General</c:formatCode>
                <c:ptCount val="6"/>
                <c:pt idx="2">
                  <c:v>168.3997</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4.306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15.0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01.30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6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Banana Boat</c:v>
                </c:pt>
                <c:pt idx="1">
                  <c:v>Australian Gold</c:v>
                </c:pt>
                <c:pt idx="2">
                  <c:v>Ocean Potion</c:v>
                </c:pt>
                <c:pt idx="3">
                  <c:v>Others Marca Unif.</c:v>
                </c:pt>
                <c:pt idx="4">
                  <c:v>Mustela</c:v>
                </c:pt>
              </c:strCache>
            </c:strRef>
          </c:cat>
          <c:val>
            <c:numRef>
              <c:f>Sheet1!$B$2:$B$6</c:f>
              <c:numCache>
                <c:formatCode>General</c:formatCode>
                <c:ptCount val="5"/>
                <c:pt idx="2">
                  <c:v>318.4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Banana Boat</c:v>
                </c:pt>
                <c:pt idx="1">
                  <c:v>Australian Gold</c:v>
                </c:pt>
                <c:pt idx="2">
                  <c:v>Ocean Potion</c:v>
                </c:pt>
                <c:pt idx="3">
                  <c:v>Others Marca Unif.</c:v>
                </c:pt>
                <c:pt idx="4">
                  <c:v>Mustela</c:v>
                </c:pt>
              </c:strCache>
            </c:strRef>
          </c:cat>
          <c:val>
            <c:numRef>
              <c:f>Sheet1!$C$2:$C$6</c:f>
              <c:numCache>
                <c:formatCode>General</c:formatCode>
                <c:ptCount val="5"/>
                <c:pt idx="0">
                  <c:v>263.8278</c:v>
                </c:pt>
                <c:pt idx="1">
                  <c:v>348.6929</c:v>
                </c:pt>
                <c:pt idx="3">
                  <c:v>144.63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Banana Boat</c:v>
                </c:pt>
                <c:pt idx="1">
                  <c:v>Australian Gold</c:v>
                </c:pt>
                <c:pt idx="2">
                  <c:v>Ocean Potion</c:v>
                </c:pt>
                <c:pt idx="3">
                  <c:v>Others Marca Unif.</c:v>
                </c:pt>
                <c:pt idx="4">
                  <c:v>Mustela</c:v>
                </c:pt>
              </c:strCache>
            </c:strRef>
          </c:cat>
          <c:val>
            <c:numRef>
              <c:f>Sheet1!$D$2:$D$6</c:f>
              <c:numCache>
                <c:formatCode>General</c:formatCode>
                <c:ptCount val="5"/>
                <c:pt idx="3">
                  <c:v>211.841</c:v>
                </c:pt>
                <c:pt idx="4">
                  <c:v>398.26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Others Marca Unif.</c:v>
                </c:pt>
                <c:pt idx="1">
                  <c:v>Neutrogena</c:v>
                </c:pt>
                <c:pt idx="2">
                  <c:v>Mustela</c:v>
                </c:pt>
              </c:strCache>
            </c:strRef>
          </c:cat>
          <c:val>
            <c:numRef>
              <c:f>Sheet1!$B$2:$B$4</c:f>
              <c:numCache>
                <c:formatCode>General</c:formatCode>
                <c:ptCount val="3"/>
                <c:pt idx="0">
                  <c:v>338.1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Others Marca Unif.</c:v>
                </c:pt>
                <c:pt idx="1">
                  <c:v>Neutrogena</c:v>
                </c:pt>
                <c:pt idx="2">
                  <c:v>Mustela</c:v>
                </c:pt>
              </c:strCache>
            </c:strRef>
          </c:cat>
          <c:val>
            <c:numRef>
              <c:f>Sheet1!$C$2:$C$4</c:f>
              <c:numCache>
                <c:formatCode>General</c:formatCode>
                <c:ptCount val="3"/>
                <c:pt idx="0">
                  <c:v>582.89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Others Marca Unif.</c:v>
                </c:pt>
                <c:pt idx="1">
                  <c:v>Neutrogena</c:v>
                </c:pt>
                <c:pt idx="2">
                  <c:v>Mustela</c:v>
                </c:pt>
              </c:strCache>
            </c:strRef>
          </c:cat>
          <c:val>
            <c:numRef>
              <c:f>Sheet1!$D$2:$D$4</c:f>
              <c:numCache>
                <c:formatCode>General</c:formatCode>
                <c:ptCount val="3"/>
                <c:pt idx="0">
                  <c:v>254.40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Others Marca Unif.</c:v>
                </c:pt>
                <c:pt idx="1">
                  <c:v>Neutrogena</c:v>
                </c:pt>
                <c:pt idx="2">
                  <c:v>Mustela</c:v>
                </c:pt>
              </c:strCache>
            </c:strRef>
          </c:cat>
          <c:val>
            <c:numRef>
              <c:f>Sheet1!$E$2:$E$4</c:f>
              <c:numCache>
                <c:formatCode>General</c:formatCode>
                <c:ptCount val="3"/>
                <c:pt idx="0">
                  <c:v>794.35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2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Others Marca Unif.</c:v>
                </c:pt>
                <c:pt idx="1">
                  <c:v>Neutrogena</c:v>
                </c:pt>
                <c:pt idx="2">
                  <c:v>Mustela</c:v>
                </c:pt>
              </c:strCache>
            </c:strRef>
          </c:cat>
          <c:val>
            <c:numRef>
              <c:f>Sheet1!$F$2:$F$4</c:f>
              <c:numCache>
                <c:formatCode>General</c:formatCode>
                <c:ptCount val="3"/>
                <c:pt idx="1">
                  <c:v>350.09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Others Marca Unif.</c:v>
                </c:pt>
                <c:pt idx="1">
                  <c:v>Neutrogena</c:v>
                </c:pt>
                <c:pt idx="2">
                  <c:v>Mustela</c:v>
                </c:pt>
              </c:strCache>
            </c:strRef>
          </c:cat>
          <c:val>
            <c:numRef>
              <c:f>Sheet1!$G$2:$G$4</c:f>
              <c:numCache>
                <c:formatCode>General</c:formatCode>
                <c:ptCount val="3"/>
                <c:pt idx="2">
                  <c:v>220.733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Vichy</c:v>
                </c:pt>
                <c:pt idx="3">
                  <c:v>Heliocare</c:v>
                </c:pt>
                <c:pt idx="4">
                  <c:v>Others Marca Unif.</c:v>
                </c:pt>
                <c:pt idx="5">
                  <c:v>Avene</c:v>
                </c:pt>
              </c:strCache>
            </c:strRef>
          </c:cat>
          <c:val>
            <c:numRef>
              <c:f>Sheet1!$B$2:$B$7</c:f>
              <c:numCache>
                <c:formatCode>General</c:formatCode>
                <c:ptCount val="6"/>
                <c:pt idx="4">
                  <c:v>111.87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La Roche-Posay</c:v>
                </c:pt>
                <c:pt idx="2">
                  <c:v>Vichy</c:v>
                </c:pt>
                <c:pt idx="3">
                  <c:v>Heliocare</c:v>
                </c:pt>
                <c:pt idx="4">
                  <c:v>Others Marca Unif.</c:v>
                </c:pt>
                <c:pt idx="5">
                  <c:v>Avene</c:v>
                </c:pt>
              </c:strCache>
            </c:strRef>
          </c:cat>
          <c:val>
            <c:numRef>
              <c:f>Sheet1!$C$2:$C$7</c:f>
              <c:numCache>
                <c:formatCode>General</c:formatCode>
                <c:ptCount val="6"/>
                <c:pt idx="0">
                  <c:v>632.4877</c:v>
                </c:pt>
                <c:pt idx="1">
                  <c:v>792.0572</c:v>
                </c:pt>
                <c:pt idx="2">
                  <c:v>674.817</c:v>
                </c:pt>
                <c:pt idx="3">
                  <c:v>678.1587</c:v>
                </c:pt>
                <c:pt idx="5">
                  <c:v>743.03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Vichy</c:v>
                </c:pt>
                <c:pt idx="3">
                  <c:v>Heliocare</c:v>
                </c:pt>
                <c:pt idx="4">
                  <c:v>Others Marca Unif.</c:v>
                </c:pt>
                <c:pt idx="5">
                  <c:v>Avene</c:v>
                </c:pt>
              </c:strCache>
            </c:strRef>
          </c:cat>
          <c:val>
            <c:numRef>
              <c:f>Sheet1!$D$2:$D$7</c:f>
              <c:numCache>
                <c:formatCode>General</c:formatCode>
                <c:ptCount val="6"/>
                <c:pt idx="2">
                  <c:v>682.81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Vichy</c:v>
                </c:pt>
                <c:pt idx="3">
                  <c:v>Heliocare</c:v>
                </c:pt>
                <c:pt idx="4">
                  <c:v>Others Marca Unif.</c:v>
                </c:pt>
                <c:pt idx="5">
                  <c:v>Avene</c:v>
                </c:pt>
              </c:strCache>
            </c:strRef>
          </c:cat>
          <c:val>
            <c:numRef>
              <c:f>Sheet1!$E$2:$E$7</c:f>
              <c:numCache>
                <c:formatCode>General</c:formatCode>
                <c:ptCount val="6"/>
                <c:pt idx="1">
                  <c:v>521.748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B$2:$B$10</c:f>
              <c:numCache>
                <c:formatCode>General</c:formatCode>
                <c:ptCount val="9"/>
                <c:pt idx="2">
                  <c:v>229.35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C$2:$C$10</c:f>
              <c:numCache>
                <c:formatCode>General</c:formatCode>
                <c:ptCount val="9"/>
                <c:pt idx="5">
                  <c:v>148.25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D$2:$D$10</c:f>
              <c:numCache>
                <c:formatCode>General</c:formatCode>
                <c:ptCount val="9"/>
                <c:pt idx="1">
                  <c:v>684.73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E$2:$E$10</c:f>
              <c:numCache>
                <c:formatCode>General</c:formatCode>
                <c:ptCount val="9"/>
                <c:pt idx="1">
                  <c:v>718.8342</c:v>
                </c:pt>
                <c:pt idx="2">
                  <c:v>302.9132</c:v>
                </c:pt>
                <c:pt idx="4">
                  <c:v>740.651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F$2:$F$10</c:f>
              <c:numCache>
                <c:formatCode>General</c:formatCode>
                <c:ptCount val="9"/>
                <c:pt idx="8">
                  <c:v>866.69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G$2:$G$10</c:f>
              <c:numCache>
                <c:formatCode>General</c:formatCode>
                <c:ptCount val="9"/>
                <c:pt idx="7">
                  <c:v>726.93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H$2:$H$10</c:f>
              <c:numCache>
                <c:formatCode>General</c:formatCode>
                <c:ptCount val="9"/>
                <c:pt idx="2">
                  <c:v>320.7362</c:v>
                </c:pt>
                <c:pt idx="5">
                  <c:v>528.1553</c:v>
                </c:pt>
                <c:pt idx="7">
                  <c:v>699.9146</c:v>
                </c:pt>
                <c:pt idx="8">
                  <c:v>639.307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I$2:$I$10</c:f>
              <c:numCache>
                <c:formatCode>General</c:formatCode>
                <c:ptCount val="9"/>
                <c:pt idx="0">
                  <c:v>616.9655</c:v>
                </c:pt>
                <c:pt idx="1">
                  <c:v>631.1822</c:v>
                </c:pt>
                <c:pt idx="3">
                  <c:v>649.2944</c:v>
                </c:pt>
                <c:pt idx="4">
                  <c:v>677.6461</c:v>
                </c:pt>
                <c:pt idx="6">
                  <c:v>624.0619</c:v>
                </c:pt>
                <c:pt idx="8">
                  <c:v>676.83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Neutrogena</c:v>
                </c:pt>
                <c:pt idx="3">
                  <c:v>La Roche-Posay</c:v>
                </c:pt>
                <c:pt idx="4">
                  <c:v>Eucerin</c:v>
                </c:pt>
                <c:pt idx="5">
                  <c:v>Others Marca Unif.</c:v>
                </c:pt>
                <c:pt idx="6">
                  <c:v>Heliocare</c:v>
                </c:pt>
                <c:pt idx="7">
                  <c:v>Photoderm</c:v>
                </c:pt>
                <c:pt idx="8">
                  <c:v>Vichy</c:v>
                </c:pt>
              </c:strCache>
            </c:strRef>
          </c:cat>
          <c:val>
            <c:numRef>
              <c:f>Sheet1!$J$2:$J$10</c:f>
              <c:numCache>
                <c:formatCode>General</c:formatCode>
                <c:ptCount val="9"/>
                <c:pt idx="5">
                  <c:v>133.671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878.7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B$2:$B$8</c:f>
              <c:numCache>
                <c:formatCode>General</c:formatCode>
                <c:ptCount val="7"/>
                <c:pt idx="2">
                  <c:v>746.5879</c:v>
                </c:pt>
                <c:pt idx="5">
                  <c:v>605.51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C$2:$C$8</c:f>
              <c:numCache>
                <c:formatCode>General</c:formatCode>
                <c:ptCount val="7"/>
                <c:pt idx="0">
                  <c:v>614.136</c:v>
                </c:pt>
                <c:pt idx="1">
                  <c:v>645.8626</c:v>
                </c:pt>
                <c:pt idx="2">
                  <c:v>716.2055</c:v>
                </c:pt>
                <c:pt idx="3">
                  <c:v>646.5109</c:v>
                </c:pt>
                <c:pt idx="4">
                  <c:v>592.4227</c:v>
                </c:pt>
                <c:pt idx="6">
                  <c:v>577.756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1</a:t>
                    </a:r>
                  </a:p>
                </c:rich>
              </c:tx>
              <c:dLblPos val="t"/>
              <c:showLegendKey val="0"/>
              <c:showVal val="1"/>
              <c:showCatName val="0"/>
              <c:showSerName val="0"/>
              <c:showPercent val="0"/>
              <c:showBubbleSize val="0"/>
            </c:dLbl>
            <c:dLbl>
              <c:idx val="1"/>
              <c:tx>
                <c:rich>
                  <a:bodyPr/>
                  <a:lstStyle/>
                  <a:p>
                    <a:r>
                      <a:t>268.65</a:t>
                    </a:r>
                  </a:p>
                </c:rich>
              </c:tx>
              <c:dLblPos val="t"/>
              <c:showLegendKey val="0"/>
              <c:showVal val="1"/>
              <c:showCatName val="0"/>
              <c:showSerName val="0"/>
              <c:showPercent val="0"/>
              <c:showBubbleSize val="0"/>
            </c:dLbl>
            <c:dLbl>
              <c:idx val="2"/>
              <c:tx>
                <c:rich>
                  <a:bodyPr/>
                  <a:lstStyle/>
                  <a:p>
                    <a:r>
                      <a:t>263.78</a:t>
                    </a:r>
                  </a:p>
                </c:rich>
              </c:tx>
              <c:dLblPos val="t"/>
              <c:showLegendKey val="0"/>
              <c:showVal val="1"/>
              <c:showCatName val="0"/>
              <c:showSerName val="0"/>
              <c:showPercent val="0"/>
              <c:showBubbleSize val="0"/>
            </c:dLbl>
            <c:dLbl>
              <c:idx val="3"/>
              <c:tx>
                <c:rich>
                  <a:bodyPr/>
                  <a:lstStyle/>
                  <a:p>
                    <a:r>
                      <a:t>234.97</a:t>
                    </a:r>
                  </a:p>
                </c:rich>
              </c:tx>
              <c:dLblPos val="t"/>
              <c:showLegendKey val="0"/>
              <c:showVal val="1"/>
              <c:showCatName val="0"/>
              <c:showSerName val="0"/>
              <c:showPercent val="0"/>
              <c:showBubbleSize val="0"/>
            </c:dLbl>
            <c:dLbl>
              <c:idx val="4"/>
              <c:tx>
                <c:rich>
                  <a:bodyPr/>
                  <a:lstStyle/>
                  <a:p>
                    <a:r>
                      <a:t>39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strCache>
            </c:strRef>
          </c:cat>
          <c:val>
            <c:numRef>
              <c:f>Sheet1!$B$2:$B$6</c:f>
              <c:numCache>
                <c:formatCode>General</c:formatCode>
                <c:ptCount val="5"/>
                <c:pt idx="0">
                  <c:v>268.21</c:v>
                </c:pt>
                <c:pt idx="1">
                  <c:v>268.65</c:v>
                </c:pt>
                <c:pt idx="2">
                  <c:v>263.78</c:v>
                </c:pt>
                <c:pt idx="3">
                  <c:v>234.97</c:v>
                </c:pt>
                <c:pt idx="4">
                  <c:v>39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B$2:$B$8</c:f>
              <c:numCache>
                <c:formatCode>General</c:formatCode>
                <c:ptCount val="7"/>
                <c:pt idx="3">
                  <c:v>897.4589</c:v>
                </c:pt>
                <c:pt idx="6">
                  <c:v>495.24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C$2:$C$8</c:f>
              <c:numCache>
                <c:formatCode>General</c:formatCode>
                <c:ptCount val="7"/>
                <c:pt idx="0">
                  <c:v>631.29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D$2:$D$8</c:f>
              <c:numCache>
                <c:formatCode>General</c:formatCode>
                <c:ptCount val="7"/>
                <c:pt idx="4">
                  <c:v>721.47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E$2:$E$8</c:f>
              <c:numCache>
                <c:formatCode>General</c:formatCode>
                <c:ptCount val="7"/>
                <c:pt idx="0">
                  <c:v>459.1848</c:v>
                </c:pt>
                <c:pt idx="1">
                  <c:v>623.3803</c:v>
                </c:pt>
                <c:pt idx="2">
                  <c:v>577.0901</c:v>
                </c:pt>
                <c:pt idx="3">
                  <c:v>619.45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F$2:$F$8</c:f>
              <c:numCache>
                <c:formatCode>General</c:formatCode>
                <c:ptCount val="7"/>
                <c:pt idx="5">
                  <c:v>600.360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26.18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78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0.45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B$2:$B$10</c:f>
              <c:numCache>
                <c:formatCode>General</c:formatCode>
                <c:ptCount val="9"/>
                <c:pt idx="2">
                  <c:v>608.7639</c:v>
                </c:pt>
                <c:pt idx="5">
                  <c:v>496.74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C$2:$C$10</c:f>
              <c:numCache>
                <c:formatCode>General</c:formatCode>
                <c:ptCount val="9"/>
                <c:pt idx="1">
                  <c:v>671.96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D$2:$D$10</c:f>
              <c:numCache>
                <c:formatCode>General</c:formatCode>
                <c:ptCount val="9"/>
                <c:pt idx="7">
                  <c:v>418.53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E$2:$E$10</c:f>
              <c:numCache>
                <c:formatCode>General</c:formatCode>
                <c:ptCount val="9"/>
                <c:pt idx="4">
                  <c:v>606.6229</c:v>
                </c:pt>
                <c:pt idx="5">
                  <c:v>511.21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F$2:$F$10</c:f>
              <c:numCache>
                <c:formatCode>General</c:formatCode>
                <c:ptCount val="9"/>
                <c:pt idx="4">
                  <c:v>754.0625</c:v>
                </c:pt>
                <c:pt idx="8">
                  <c:v>839.40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G$2:$G$10</c:f>
              <c:numCache>
                <c:formatCode>General</c:formatCode>
                <c:ptCount val="9"/>
                <c:pt idx="3">
                  <c:v>1132.6671</c:v>
                </c:pt>
                <c:pt idx="6">
                  <c:v>594.08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H$2:$H$10</c:f>
              <c:numCache>
                <c:formatCode>General</c:formatCode>
                <c:ptCount val="9"/>
                <c:pt idx="0">
                  <c:v>242.578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I$2:$I$10</c:f>
              <c:numCache>
                <c:formatCode>General</c:formatCode>
                <c:ptCount val="9"/>
                <c:pt idx="1">
                  <c:v>614.6266</c:v>
                </c:pt>
                <c:pt idx="2">
                  <c:v>657.1194</c:v>
                </c:pt>
                <c:pt idx="3">
                  <c:v>626.85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J$2:$J$10</c:f>
              <c:numCache>
                <c:formatCode>General</c:formatCode>
                <c:ptCount val="9"/>
                <c:pt idx="3">
                  <c:v>499.605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Eclipsol</c:v>
                </c:pt>
                <c:pt idx="2">
                  <c:v>La Roche-Posay</c:v>
                </c:pt>
              </c:strCache>
            </c:strRef>
          </c:cat>
          <c:val>
            <c:numRef>
              <c:f>Sheet1!$B$2:$B$4</c:f>
              <c:numCache>
                <c:formatCode>General</c:formatCode>
                <c:ptCount val="3"/>
                <c:pt idx="1">
                  <c:v>792.29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Eclipsol</c:v>
                </c:pt>
                <c:pt idx="2">
                  <c:v>La Roche-Posay</c:v>
                </c:pt>
              </c:strCache>
            </c:strRef>
          </c:cat>
          <c:val>
            <c:numRef>
              <c:f>Sheet1!$C$2:$C$4</c:f>
              <c:numCache>
                <c:formatCode>General</c:formatCode>
                <c:ptCount val="3"/>
                <c:pt idx="0">
                  <c:v>586.5735</c:v>
                </c:pt>
                <c:pt idx="2">
                  <c:v>717.06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Eclipsol</c:v>
                </c:pt>
                <c:pt idx="2">
                  <c:v>La Roche-Posay</c:v>
                </c:pt>
              </c:strCache>
            </c:strRef>
          </c:cat>
          <c:val>
            <c:numRef>
              <c:f>Sheet1!$D$2:$D$4</c:f>
              <c:numCache>
                <c:formatCode>General</c:formatCode>
                <c:ptCount val="3"/>
                <c:pt idx="0">
                  <c:v>634.04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Eclipsol</c:v>
                </c:pt>
                <c:pt idx="2">
                  <c:v>La Roche-Posay</c:v>
                </c:pt>
              </c:strCache>
            </c:strRef>
          </c:cat>
          <c:val>
            <c:numRef>
              <c:f>Sheet1!$E$2:$E$4</c:f>
              <c:numCache>
                <c:formatCode>General</c:formatCode>
                <c:ptCount val="3"/>
                <c:pt idx="1">
                  <c:v>279.19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Eclipsol</c:v>
                </c:pt>
                <c:pt idx="2">
                  <c:v>La Roche-Posay</c:v>
                </c:pt>
              </c:strCache>
            </c:strRef>
          </c:cat>
          <c:val>
            <c:numRef>
              <c:f>Sheet1!$F$2:$F$4</c:f>
              <c:numCache>
                <c:formatCode>General</c:formatCode>
                <c:ptCount val="3"/>
                <c:pt idx="2">
                  <c:v>502.157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Photoderm</c:v>
                </c:pt>
                <c:pt idx="1">
                  <c:v>La Roche-Posay</c:v>
                </c:pt>
                <c:pt idx="2">
                  <c:v>Genove</c:v>
                </c:pt>
              </c:strCache>
            </c:strRef>
          </c:cat>
          <c:val>
            <c:numRef>
              <c:f>Sheet1!$B$2:$B$4</c:f>
              <c:numCache>
                <c:formatCode>General</c:formatCode>
                <c:ptCount val="3"/>
                <c:pt idx="2">
                  <c:v>605.37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C$2:$C$4</c:f>
              <c:numCache>
                <c:formatCode>General</c:formatCode>
                <c:ptCount val="3"/>
                <c:pt idx="0">
                  <c:v>705.41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D$2:$D$4</c:f>
              <c:numCache>
                <c:formatCode>General</c:formatCode>
                <c:ptCount val="3"/>
                <c:pt idx="0">
                  <c:v>826.0409</c:v>
                </c:pt>
                <c:pt idx="1">
                  <c:v>975.3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E$2:$E$4</c:f>
              <c:numCache>
                <c:formatCode>General</c:formatCode>
                <c:ptCount val="3"/>
                <c:pt idx="0">
                  <c:v>718.06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F$2:$F$4</c:f>
              <c:numCache>
                <c:formatCode>General</c:formatCode>
                <c:ptCount val="3"/>
                <c:pt idx="0">
                  <c:v>625.601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475.40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B$2:$B$5</c:f>
              <c:numCache>
                <c:formatCode>General</c:formatCode>
                <c:ptCount val="4"/>
                <c:pt idx="1">
                  <c:v>100.87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Others Marca Unif.</c:v>
                </c:pt>
                <c:pt idx="3">
                  <c:v>All Others</c:v>
                </c:pt>
              </c:strCache>
            </c:strRef>
          </c:cat>
          <c:val>
            <c:numRef>
              <c:f>Sheet1!$C$2:$C$5</c:f>
              <c:numCache>
                <c:formatCode>General</c:formatCode>
                <c:ptCount val="4"/>
                <c:pt idx="2">
                  <c:v>358.57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D$2:$D$5</c:f>
              <c:numCache>
                <c:formatCode>General</c:formatCode>
                <c:ptCount val="4"/>
                <c:pt idx="0">
                  <c:v>265.6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E$2:$E$5</c:f>
              <c:numCache>
                <c:formatCode>General</c:formatCode>
                <c:ptCount val="4"/>
                <c:pt idx="3">
                  <c:v>1033.88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Others Marca Unif.</c:v>
                </c:pt>
                <c:pt idx="3">
                  <c:v>All Others</c:v>
                </c:pt>
              </c:strCache>
            </c:strRef>
          </c:cat>
          <c:val>
            <c:numRef>
              <c:f>Sheet1!$F$2:$F$5</c:f>
              <c:numCache>
                <c:formatCode>General</c:formatCode>
                <c:ptCount val="4"/>
                <c:pt idx="2">
                  <c:v>106.89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G$2:$G$5</c:f>
              <c:numCache>
                <c:formatCode>General</c:formatCode>
                <c:ptCount val="4"/>
                <c:pt idx="0">
                  <c:v>253.19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H$2:$H$5</c:f>
              <c:numCache>
                <c:formatCode>General</c:formatCode>
                <c:ptCount val="4"/>
                <c:pt idx="1">
                  <c:v>148.03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I$2:$I$5</c:f>
              <c:numCache>
                <c:formatCode>General</c:formatCode>
                <c:ptCount val="4"/>
                <c:pt idx="1">
                  <c:v>34.056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8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B$2:$B$3</c:f>
              <c:numCache>
                <c:formatCode>General</c:formatCode>
                <c:ptCount val="2"/>
                <c:pt idx="1">
                  <c:v>188.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C$2:$C$3</c:f>
              <c:numCache>
                <c:formatCode>General</c:formatCode>
                <c:ptCount val="2"/>
                <c:pt idx="1">
                  <c:v>272.70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D$2:$D$3</c:f>
              <c:numCache>
                <c:formatCode>General</c:formatCode>
                <c:ptCount val="2"/>
                <c:pt idx="1">
                  <c:v>241.92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E$2:$E$3</c:f>
              <c:numCache>
                <c:formatCode>General</c:formatCode>
                <c:ptCount val="2"/>
                <c:pt idx="0">
                  <c:v>281.749</c:v>
                </c:pt>
                <c:pt idx="1">
                  <c:v>279.72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F$2:$F$3</c:f>
              <c:numCache>
                <c:formatCode>General</c:formatCode>
                <c:ptCount val="2"/>
                <c:pt idx="0">
                  <c:v>267.14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G$2:$G$3</c:f>
              <c:numCache>
                <c:formatCode>General</c:formatCode>
                <c:ptCount val="2"/>
                <c:pt idx="0">
                  <c:v>80.556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Others Marca Unif.</c:v>
                </c:pt>
                <c:pt idx="2">
                  <c:v>Nivea</c:v>
                </c:pt>
              </c:strCache>
            </c:strRef>
          </c:cat>
          <c:val>
            <c:numRef>
              <c:f>Sheet1!$B$2:$B$4</c:f>
              <c:numCache>
                <c:formatCode>General</c:formatCode>
                <c:ptCount val="3"/>
                <c:pt idx="1">
                  <c:v>385.64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Others Marca Unif.</c:v>
                </c:pt>
                <c:pt idx="2">
                  <c:v>Nivea</c:v>
                </c:pt>
              </c:strCache>
            </c:strRef>
          </c:cat>
          <c:val>
            <c:numRef>
              <c:f>Sheet1!$C$2:$C$4</c:f>
              <c:numCache>
                <c:formatCode>General</c:formatCode>
                <c:ptCount val="3"/>
                <c:pt idx="0">
                  <c:v>264.25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Others Marca Unif.</c:v>
                </c:pt>
                <c:pt idx="2">
                  <c:v>Nivea</c:v>
                </c:pt>
              </c:strCache>
            </c:strRef>
          </c:cat>
          <c:val>
            <c:numRef>
              <c:f>Sheet1!$D$2:$D$4</c:f>
              <c:numCache>
                <c:formatCode>General</c:formatCode>
                <c:ptCount val="3"/>
                <c:pt idx="0">
                  <c:v>287.70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Others Marca Unif.</c:v>
                </c:pt>
                <c:pt idx="2">
                  <c:v>Nivea</c:v>
                </c:pt>
              </c:strCache>
            </c:strRef>
          </c:cat>
          <c:val>
            <c:numRef>
              <c:f>Sheet1!$E$2:$E$4</c:f>
              <c:numCache>
                <c:formatCode>General</c:formatCode>
                <c:ptCount val="3"/>
                <c:pt idx="1">
                  <c:v>288.2465</c:v>
                </c:pt>
                <c:pt idx="2">
                  <c:v>132.73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Others Marca Unif.</c:v>
                </c:pt>
                <c:pt idx="2">
                  <c:v>Nivea</c:v>
                </c:pt>
              </c:strCache>
            </c:strRef>
          </c:cat>
          <c:val>
            <c:numRef>
              <c:f>Sheet1!$F$2:$F$4</c:f>
              <c:numCache>
                <c:formatCode>General</c:formatCode>
                <c:ptCount val="3"/>
                <c:pt idx="0">
                  <c:v>70.65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5.48</a:t>
                    </a:r>
                  </a:p>
                </c:rich>
              </c:tx>
              <c:dLblPos val="t"/>
              <c:showLegendKey val="0"/>
              <c:showVal val="1"/>
              <c:showCatName val="0"/>
              <c:showSerName val="0"/>
              <c:showPercent val="0"/>
              <c:showBubbleSize val="0"/>
            </c:dLbl>
            <c:dLbl>
              <c:idx val="1"/>
              <c:tx>
                <c:rich>
                  <a:bodyPr/>
                  <a:lstStyle/>
                  <a:p>
                    <a:r>
                      <a:t>351.2</a:t>
                    </a:r>
                  </a:p>
                </c:rich>
              </c:tx>
              <c:dLblPos val="t"/>
              <c:showLegendKey val="0"/>
              <c:showVal val="1"/>
              <c:showCatName val="0"/>
              <c:showSerName val="0"/>
              <c:showPercent val="0"/>
              <c:showBubbleSize val="0"/>
            </c:dLbl>
            <c:dLbl>
              <c:idx val="2"/>
              <c:tx>
                <c:rich>
                  <a:bodyPr/>
                  <a:lstStyle/>
                  <a:p>
                    <a:r>
                      <a:t>370.13</a:t>
                    </a:r>
                  </a:p>
                </c:rich>
              </c:tx>
              <c:dLblPos val="t"/>
              <c:showLegendKey val="0"/>
              <c:showVal val="1"/>
              <c:showCatName val="0"/>
              <c:showSerName val="0"/>
              <c:showPercent val="0"/>
              <c:showBubbleSize val="0"/>
            </c:dLbl>
            <c:dLbl>
              <c:idx val="3"/>
              <c:tx>
                <c:rich>
                  <a:bodyPr/>
                  <a:lstStyle/>
                  <a:p>
                    <a:r>
                      <a:t>398.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Sensitive Sunscreen Adults Cosmetics Liquido 50+ 180Ml</c:v>
                </c:pt>
              </c:strCache>
            </c:strRef>
          </c:cat>
          <c:val>
            <c:numRef>
              <c:f>Sheet1!$B$2:$B$5</c:f>
              <c:numCache>
                <c:formatCode>General</c:formatCode>
                <c:ptCount val="4"/>
                <c:pt idx="0">
                  <c:v>375.48</c:v>
                </c:pt>
                <c:pt idx="1">
                  <c:v>351.2</c:v>
                </c:pt>
                <c:pt idx="2">
                  <c:v>370.13</c:v>
                </c:pt>
                <c:pt idx="3">
                  <c:v>39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7.8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Australian Gold</c:v>
                </c:pt>
                <c:pt idx="2">
                  <c:v>Others Marca Unif.</c:v>
                </c:pt>
                <c:pt idx="3">
                  <c:v>Ocean Potion</c:v>
                </c:pt>
              </c:strCache>
            </c:strRef>
          </c:cat>
          <c:val>
            <c:numRef>
              <c:f>Sheet1!$B$2:$B$5</c:f>
              <c:numCache>
                <c:formatCode>General</c:formatCode>
                <c:ptCount val="4"/>
                <c:pt idx="2">
                  <c:v>201.22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Australian Gold</c:v>
                </c:pt>
                <c:pt idx="2">
                  <c:v>Others Marca Unif.</c:v>
                </c:pt>
                <c:pt idx="3">
                  <c:v>Ocean Potion</c:v>
                </c:pt>
              </c:strCache>
            </c:strRef>
          </c:cat>
          <c:val>
            <c:numRef>
              <c:f>Sheet1!$C$2:$C$5</c:f>
              <c:numCache>
                <c:formatCode>General</c:formatCode>
                <c:ptCount val="4"/>
                <c:pt idx="3">
                  <c:v>316.08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Australian Gold</c:v>
                </c:pt>
                <c:pt idx="2">
                  <c:v>Others Marca Unif.</c:v>
                </c:pt>
                <c:pt idx="3">
                  <c:v>Ocean Potion</c:v>
                </c:pt>
              </c:strCache>
            </c:strRef>
          </c:cat>
          <c:val>
            <c:numRef>
              <c:f>Sheet1!$D$2:$D$5</c:f>
              <c:numCache>
                <c:formatCode>General</c:formatCode>
                <c:ptCount val="4"/>
                <c:pt idx="0">
                  <c:v>208.2507</c:v>
                </c:pt>
                <c:pt idx="1">
                  <c:v>390.8782</c:v>
                </c:pt>
                <c:pt idx="2">
                  <c:v>154.362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eliocare</c:v>
                </c:pt>
              </c:strCache>
            </c:strRef>
          </c:cat>
          <c:val>
            <c:numRef>
              <c:f>Sheet1!$B$2:$B$2</c:f>
              <c:numCache>
                <c:formatCode>General</c:formatCode>
                <c:ptCount val="1"/>
                <c:pt idx="0">
                  <c:v>550.435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1">
                  <c:v>194.86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1">
                  <c:v>383.25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1">
                  <c:v>365.52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0">
                  <c:v>395.63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F$2:$F$3</c:f>
              <c:numCache>
                <c:formatCode>General</c:formatCode>
                <c:ptCount val="2"/>
                <c:pt idx="1">
                  <c:v>137.777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24.65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9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B$2:$B$9</c:f>
              <c:numCache>
                <c:formatCode>General</c:formatCode>
                <c:ptCount val="8"/>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C$2:$C$9</c:f>
              <c:numCache>
                <c:formatCode>General</c:formatCode>
                <c:ptCount val="8"/>
                <c:pt idx="1">
                  <c:v>9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D$2:$D$9</c:f>
              <c:numCache>
                <c:formatCode>General</c:formatCode>
                <c:ptCount val="8"/>
                <c:pt idx="0">
                  <c:v>182.1294</c:v>
                </c:pt>
                <c:pt idx="1">
                  <c:v>208.25</c:v>
                </c:pt>
                <c:pt idx="5">
                  <c:v>75.14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E$2:$E$9</c:f>
              <c:numCache>
                <c:formatCode>General</c:formatCode>
                <c:ptCount val="8"/>
                <c:pt idx="4">
                  <c:v>125.60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F$2:$F$9</c:f>
              <c:numCache>
                <c:formatCode>General</c:formatCode>
                <c:ptCount val="8"/>
                <c:pt idx="3">
                  <c:v>101.4226</c:v>
                </c:pt>
                <c:pt idx="7">
                  <c:v>90.258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G$2:$G$9</c:f>
              <c:numCache>
                <c:formatCode>General</c:formatCode>
                <c:ptCount val="8"/>
                <c:pt idx="1">
                  <c:v>234.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H$2:$H$9</c:f>
              <c:numCache>
                <c:formatCode>General</c:formatCode>
                <c:ptCount val="8"/>
                <c:pt idx="0">
                  <c:v>222.3923</c:v>
                </c:pt>
                <c:pt idx="1">
                  <c:v>222.09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I$2:$I$9</c:f>
              <c:numCache>
                <c:formatCode>General</c:formatCode>
                <c:ptCount val="8"/>
                <c:pt idx="2">
                  <c:v>271.9526</c:v>
                </c:pt>
                <c:pt idx="4">
                  <c:v>139.321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J$2:$J$9</c:f>
              <c:numCache>
                <c:formatCode>General</c:formatCode>
                <c:ptCount val="8"/>
                <c:pt idx="1">
                  <c:v>247.08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K$2:$K$9</c:f>
              <c:numCache>
                <c:formatCode>General</c:formatCode>
                <c:ptCount val="8"/>
                <c:pt idx="1">
                  <c:v>246.905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L$2:$L$9</c:f>
              <c:numCache>
                <c:formatCode>General</c:formatCode>
                <c:ptCount val="8"/>
                <c:pt idx="0">
                  <c:v>267.29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M$2:$M$9</c:f>
              <c:numCache>
                <c:formatCode>General</c:formatCode>
                <c:ptCount val="8"/>
                <c:pt idx="3">
                  <c:v>123.660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N$2:$N$9</c:f>
              <c:numCache>
                <c:formatCode>General</c:formatCode>
                <c:ptCount val="8"/>
                <c:pt idx="1">
                  <c:v>5.0</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O$2:$O$9</c:f>
              <c:numCache>
                <c:formatCode>General</c:formatCode>
                <c:ptCount val="8"/>
                <c:pt idx="2">
                  <c:v>262.754</c:v>
                </c:pt>
                <c:pt idx="6">
                  <c:v>188.102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P$2:$P$9</c:f>
              <c:numCache>
                <c:formatCode>General</c:formatCode>
                <c:ptCount val="8"/>
                <c:pt idx="2">
                  <c:v>247.4402</c:v>
                </c:pt>
                <c:pt idx="4">
                  <c:v>233.92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Q$2:$Q$9</c:f>
              <c:numCache>
                <c:formatCode>General</c:formatCode>
                <c:ptCount val="8"/>
                <c:pt idx="1">
                  <c:v>15.3399</c:v>
                </c:pt>
                <c:pt idx="3">
                  <c:v>33.737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R$2:$R$9</c:f>
              <c:numCache>
                <c:formatCode>General</c:formatCode>
                <c:ptCount val="8"/>
                <c:pt idx="3">
                  <c:v>124.879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Others Marca Unif.</c:v>
                </c:pt>
                <c:pt idx="5">
                  <c:v>Nuvel</c:v>
                </c:pt>
                <c:pt idx="6">
                  <c:v>Garnier</c:v>
                </c:pt>
                <c:pt idx="7">
                  <c:v>Inds.Lavin De Mexico: All Others</c:v>
                </c:pt>
              </c:strCache>
            </c:strRef>
          </c:cat>
          <c:val>
            <c:numRef>
              <c:f>Sheet1!$S$2:$S$9</c:f>
              <c:numCache>
                <c:formatCode>General</c:formatCode>
                <c:ptCount val="8"/>
                <c:pt idx="0">
                  <c:v>104.1795</c:v>
                </c:pt>
                <c:pt idx="4">
                  <c:v>80.575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Nivea</c:v>
                </c:pt>
              </c:strCache>
            </c:strRef>
          </c:cat>
          <c:val>
            <c:numRef>
              <c:f>Sheet1!$B$2:$B$3</c:f>
              <c:numCache>
                <c:formatCode>General</c:formatCode>
                <c:ptCount val="2"/>
                <c:pt idx="1">
                  <c:v>262.49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ivea</c:v>
                </c:pt>
              </c:strCache>
            </c:strRef>
          </c:cat>
          <c:val>
            <c:numRef>
              <c:f>Sheet1!$C$2:$C$3</c:f>
              <c:numCache>
                <c:formatCode>General</c:formatCode>
                <c:ptCount val="2"/>
                <c:pt idx="0">
                  <c:v>272.356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70.21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75.845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B$2:$B$6</c:f>
              <c:numCache>
                <c:formatCode>General</c:formatCode>
                <c:ptCount val="5"/>
                <c:pt idx="0">
                  <c:v>267.6563</c:v>
                </c:pt>
                <c:pt idx="2">
                  <c:v>199.45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C$2:$C$6</c:f>
              <c:numCache>
                <c:formatCode>General</c:formatCode>
                <c:ptCount val="5"/>
                <c:pt idx="1">
                  <c:v>423.85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D$2:$D$6</c:f>
              <c:numCache>
                <c:formatCode>General</c:formatCode>
                <c:ptCount val="5"/>
                <c:pt idx="0">
                  <c:v>184.33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E$2:$E$6</c:f>
              <c:numCache>
                <c:formatCode>General</c:formatCode>
                <c:ptCount val="5"/>
                <c:pt idx="3">
                  <c:v>173.09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F$2:$F$6</c:f>
              <c:numCache>
                <c:formatCode>General</c:formatCode>
                <c:ptCount val="5"/>
                <c:pt idx="0">
                  <c:v>252.93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G$2:$G$6</c:f>
              <c:numCache>
                <c:formatCode>General</c:formatCode>
                <c:ptCount val="5"/>
                <c:pt idx="1">
                  <c:v>287.035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H$2:$H$6</c:f>
              <c:numCache>
                <c:formatCode>General</c:formatCode>
                <c:ptCount val="5"/>
                <c:pt idx="0">
                  <c:v>246.50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I$2:$I$6</c:f>
              <c:numCache>
                <c:formatCode>General</c:formatCode>
                <c:ptCount val="5"/>
                <c:pt idx="0">
                  <c:v>272.9144</c:v>
                </c:pt>
                <c:pt idx="1">
                  <c:v>211.0788</c:v>
                </c:pt>
                <c:pt idx="2">
                  <c:v>551.16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J$2:$J$6</c:f>
              <c:numCache>
                <c:formatCode>General</c:formatCode>
                <c:ptCount val="5"/>
                <c:pt idx="3">
                  <c:v>278.27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K$2:$K$6</c:f>
              <c:numCache>
                <c:formatCode>General</c:formatCode>
                <c:ptCount val="5"/>
                <c:pt idx="0">
                  <c:v>271.18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L$2:$L$6</c:f>
              <c:numCache>
                <c:formatCode>General</c:formatCode>
                <c:ptCount val="5"/>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M$2:$M$6</c:f>
              <c:numCache>
                <c:formatCode>General</c:formatCode>
                <c:ptCount val="5"/>
                <c:pt idx="0">
                  <c:v>262.8873</c:v>
                </c:pt>
                <c:pt idx="1">
                  <c:v>243.574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N$2:$N$6</c:f>
              <c:numCache>
                <c:formatCode>General</c:formatCode>
                <c:ptCount val="5"/>
                <c:pt idx="0">
                  <c:v>234.5103</c:v>
                </c:pt>
                <c:pt idx="2">
                  <c:v>208.892</c:v>
                </c:pt>
                <c:pt idx="4">
                  <c:v>1120.613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O$2:$O$6</c:f>
              <c:numCache>
                <c:formatCode>General</c:formatCode>
                <c:ptCount val="5"/>
                <c:pt idx="0">
                  <c:v>119.6792</c:v>
                </c:pt>
                <c:pt idx="1">
                  <c:v>75.793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P$2:$P$6</c:f>
              <c:numCache>
                <c:formatCode>General</c:formatCode>
                <c:ptCount val="5"/>
                <c:pt idx="0">
                  <c:v>97.1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B$2:$B$7</c:f>
              <c:numCache>
                <c:formatCode>General</c:formatCode>
                <c:ptCount val="6"/>
                <c:pt idx="1">
                  <c:v>435.8806</c:v>
                </c:pt>
                <c:pt idx="3">
                  <c:v>143.46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C$2:$C$7</c:f>
              <c:numCache>
                <c:formatCode>General</c:formatCode>
                <c:ptCount val="6"/>
                <c:pt idx="0">
                  <c:v>139.99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D$2:$D$7</c:f>
              <c:numCache>
                <c:formatCode>General</c:formatCode>
                <c:ptCount val="6"/>
                <c:pt idx="0">
                  <c:v>298.98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E$2:$E$7</c:f>
              <c:numCache>
                <c:formatCode>General</c:formatCode>
                <c:ptCount val="6"/>
                <c:pt idx="0">
                  <c:v>290.92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F$2:$F$7</c:f>
              <c:numCache>
                <c:formatCode>General</c:formatCode>
                <c:ptCount val="6"/>
                <c:pt idx="4">
                  <c:v>264.61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1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G$2:$G$7</c:f>
              <c:numCache>
                <c:formatCode>General</c:formatCode>
                <c:ptCount val="6"/>
                <c:pt idx="5">
                  <c:v>272.27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H$2:$H$7</c:f>
              <c:numCache>
                <c:formatCode>General</c:formatCode>
                <c:ptCount val="6"/>
                <c:pt idx="0">
                  <c:v>238.26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I$2:$I$7</c:f>
              <c:numCache>
                <c:formatCode>General</c:formatCode>
                <c:ptCount val="6"/>
                <c:pt idx="2">
                  <c:v>263.72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J$2:$J$7</c:f>
              <c:numCache>
                <c:formatCode>General</c:formatCode>
                <c:ptCount val="6"/>
                <c:pt idx="1">
                  <c:v>404.608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K$2:$K$7</c:f>
              <c:numCache>
                <c:formatCode>General</c:formatCode>
                <c:ptCount val="6"/>
                <c:pt idx="0">
                  <c:v>251.1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Mustela</c:v>
                </c:pt>
                <c:pt idx="2">
                  <c:v>Sun &amp; Skin Care Research: All Others</c:v>
                </c:pt>
                <c:pt idx="3">
                  <c:v>Others Marca Unif.</c:v>
                </c:pt>
                <c:pt idx="4">
                  <c:v>Australian Gold</c:v>
                </c:pt>
                <c:pt idx="5">
                  <c:v>Ocean Potion</c:v>
                </c:pt>
              </c:strCache>
            </c:strRef>
          </c:cat>
          <c:val>
            <c:numRef>
              <c:f>Sheet1!$L$2:$L$7</c:f>
              <c:numCache>
                <c:formatCode>General</c:formatCode>
                <c:ptCount val="6"/>
                <c:pt idx="2">
                  <c:v>169.7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15 - 19 100Ml</c:v>
                </c:pt>
              </c:strCache>
            </c:strRef>
          </c:cat>
          <c:val>
            <c:numRef>
              <c:f>Sheet1!$B$2:$B$2</c:f>
              <c:numCache>
                <c:formatCode>General</c:formatCode>
                <c:ptCount val="1"/>
                <c:pt idx="0">
                  <c:v>224.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5.050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14.50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20.28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6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Banana Boat</c:v>
                </c:pt>
                <c:pt idx="1">
                  <c:v>Australian Gold</c:v>
                </c:pt>
                <c:pt idx="2">
                  <c:v>Ocean Potion</c:v>
                </c:pt>
                <c:pt idx="3">
                  <c:v>Others Marca Unif.</c:v>
                </c:pt>
                <c:pt idx="4">
                  <c:v>Mustela</c:v>
                </c:pt>
              </c:strCache>
            </c:strRef>
          </c:cat>
          <c:val>
            <c:numRef>
              <c:f>Sheet1!$B$2:$B$6</c:f>
              <c:numCache>
                <c:formatCode>General</c:formatCode>
                <c:ptCount val="5"/>
                <c:pt idx="2">
                  <c:v>322.31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Banana Boat</c:v>
                </c:pt>
                <c:pt idx="1">
                  <c:v>Australian Gold</c:v>
                </c:pt>
                <c:pt idx="2">
                  <c:v>Ocean Potion</c:v>
                </c:pt>
                <c:pt idx="3">
                  <c:v>Others Marca Unif.</c:v>
                </c:pt>
                <c:pt idx="4">
                  <c:v>Mustela</c:v>
                </c:pt>
              </c:strCache>
            </c:strRef>
          </c:cat>
          <c:val>
            <c:numRef>
              <c:f>Sheet1!$C$2:$C$6</c:f>
              <c:numCache>
                <c:formatCode>General</c:formatCode>
                <c:ptCount val="5"/>
                <c:pt idx="0">
                  <c:v>273.1176</c:v>
                </c:pt>
                <c:pt idx="1">
                  <c:v>351.66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Banana Boat</c:v>
                </c:pt>
                <c:pt idx="1">
                  <c:v>Australian Gold</c:v>
                </c:pt>
                <c:pt idx="2">
                  <c:v>Ocean Potion</c:v>
                </c:pt>
                <c:pt idx="3">
                  <c:v>Others Marca Unif.</c:v>
                </c:pt>
                <c:pt idx="4">
                  <c:v>Mustela</c:v>
                </c:pt>
              </c:strCache>
            </c:strRef>
          </c:cat>
          <c:val>
            <c:numRef>
              <c:f>Sheet1!$D$2:$D$6</c:f>
              <c:numCache>
                <c:formatCode>General</c:formatCode>
                <c:ptCount val="5"/>
                <c:pt idx="3">
                  <c:v>307.7394</c:v>
                </c:pt>
                <c:pt idx="4">
                  <c:v>410.141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Others Marca Unif.</c:v>
                </c:pt>
                <c:pt idx="1">
                  <c:v>Neutrogena</c:v>
                </c:pt>
                <c:pt idx="2">
                  <c:v>Mustela</c:v>
                </c:pt>
              </c:strCache>
            </c:strRef>
          </c:cat>
          <c:val>
            <c:numRef>
              <c:f>Sheet1!$B$2:$B$4</c:f>
              <c:numCache>
                <c:formatCode>General</c:formatCode>
                <c:ptCount val="3"/>
                <c:pt idx="0">
                  <c:v>344.98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Others Marca Unif.</c:v>
                </c:pt>
                <c:pt idx="1">
                  <c:v>Neutrogena</c:v>
                </c:pt>
                <c:pt idx="2">
                  <c:v>Mustela</c:v>
                </c:pt>
              </c:strCache>
            </c:strRef>
          </c:cat>
          <c:val>
            <c:numRef>
              <c:f>Sheet1!$C$2:$C$4</c:f>
              <c:numCache>
                <c:formatCode>General</c:formatCode>
                <c:ptCount val="3"/>
                <c:pt idx="0">
                  <c:v>611.78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Others Marca Unif.</c:v>
                </c:pt>
                <c:pt idx="1">
                  <c:v>Neutrogena</c:v>
                </c:pt>
                <c:pt idx="2">
                  <c:v>Mustela</c:v>
                </c:pt>
              </c:strCache>
            </c:strRef>
          </c:cat>
          <c:val>
            <c:numRef>
              <c:f>Sheet1!$D$2:$D$4</c:f>
              <c:numCache>
                <c:formatCode>General</c:formatCode>
                <c:ptCount val="3"/>
                <c:pt idx="0">
                  <c:v>260.83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Others Marca Unif.</c:v>
                </c:pt>
                <c:pt idx="1">
                  <c:v>Neutrogena</c:v>
                </c:pt>
                <c:pt idx="2">
                  <c:v>Mustela</c:v>
                </c:pt>
              </c:strCache>
            </c:strRef>
          </c:cat>
          <c:val>
            <c:numRef>
              <c:f>Sheet1!$E$2:$E$4</c:f>
              <c:numCache>
                <c:formatCode>General</c:formatCode>
                <c:ptCount val="3"/>
                <c:pt idx="0">
                  <c:v>884.33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2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Others Marca Unif.</c:v>
                </c:pt>
                <c:pt idx="1">
                  <c:v>Neutrogena</c:v>
                </c:pt>
                <c:pt idx="2">
                  <c:v>Mustela</c:v>
                </c:pt>
              </c:strCache>
            </c:strRef>
          </c:cat>
          <c:val>
            <c:numRef>
              <c:f>Sheet1!$F$2:$F$4</c:f>
              <c:numCache>
                <c:formatCode>General</c:formatCode>
                <c:ptCount val="3"/>
                <c:pt idx="1">
                  <c:v>351.44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Others Marca Unif.</c:v>
                </c:pt>
                <c:pt idx="1">
                  <c:v>Neutrogena</c:v>
                </c:pt>
                <c:pt idx="2">
                  <c:v>Mustela</c:v>
                </c:pt>
              </c:strCache>
            </c:strRef>
          </c:cat>
          <c:val>
            <c:numRef>
              <c:f>Sheet1!$G$2:$G$4</c:f>
              <c:numCache>
                <c:formatCode>General</c:formatCode>
                <c:ptCount val="3"/>
                <c:pt idx="2">
                  <c:v>221.387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Vichy</c:v>
                </c:pt>
                <c:pt idx="3">
                  <c:v>Heliocare</c:v>
                </c:pt>
                <c:pt idx="4">
                  <c:v>Others Marca Unif.</c:v>
                </c:pt>
                <c:pt idx="5">
                  <c:v>Avene</c:v>
                </c:pt>
              </c:strCache>
            </c:strRef>
          </c:cat>
          <c:val>
            <c:numRef>
              <c:f>Sheet1!$B$2:$B$7</c:f>
              <c:numCache>
                <c:formatCode>General</c:formatCode>
                <c:ptCount val="6"/>
                <c:pt idx="4">
                  <c:v>112.27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La Roche-Posay</c:v>
                </c:pt>
                <c:pt idx="2">
                  <c:v>Vichy</c:v>
                </c:pt>
                <c:pt idx="3">
                  <c:v>Heliocare</c:v>
                </c:pt>
                <c:pt idx="4">
                  <c:v>Others Marca Unif.</c:v>
                </c:pt>
                <c:pt idx="5">
                  <c:v>Avene</c:v>
                </c:pt>
              </c:strCache>
            </c:strRef>
          </c:cat>
          <c:val>
            <c:numRef>
              <c:f>Sheet1!$C$2:$C$7</c:f>
              <c:numCache>
                <c:formatCode>General</c:formatCode>
                <c:ptCount val="6"/>
                <c:pt idx="0">
                  <c:v>637.7179</c:v>
                </c:pt>
                <c:pt idx="1">
                  <c:v>831.2185</c:v>
                </c:pt>
                <c:pt idx="2">
                  <c:v>697.7107</c:v>
                </c:pt>
                <c:pt idx="3">
                  <c:v>704.7175</c:v>
                </c:pt>
                <c:pt idx="5">
                  <c:v>781.25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Vichy</c:v>
                </c:pt>
                <c:pt idx="3">
                  <c:v>Heliocare</c:v>
                </c:pt>
                <c:pt idx="4">
                  <c:v>Others Marca Unif.</c:v>
                </c:pt>
                <c:pt idx="5">
                  <c:v>Avene</c:v>
                </c:pt>
              </c:strCache>
            </c:strRef>
          </c:cat>
          <c:val>
            <c:numRef>
              <c:f>Sheet1!$D$2:$D$7</c:f>
              <c:numCache>
                <c:formatCode>General</c:formatCode>
                <c:ptCount val="6"/>
                <c:pt idx="2">
                  <c:v>715.28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Vichy</c:v>
                </c:pt>
                <c:pt idx="3">
                  <c:v>Heliocare</c:v>
                </c:pt>
                <c:pt idx="4">
                  <c:v>Others Marca Unif.</c:v>
                </c:pt>
                <c:pt idx="5">
                  <c:v>Avene</c:v>
                </c:pt>
              </c:strCache>
            </c:strRef>
          </c:cat>
          <c:val>
            <c:numRef>
              <c:f>Sheet1!$E$2:$E$7</c:f>
              <c:numCache>
                <c:formatCode>General</c:formatCode>
                <c:ptCount val="6"/>
                <c:pt idx="1">
                  <c:v>528.221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B$2:$B$10</c:f>
              <c:numCache>
                <c:formatCode>General</c:formatCode>
                <c:ptCount val="9"/>
                <c:pt idx="1">
                  <c:v>229.79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C$2:$C$10</c:f>
              <c:numCache>
                <c:formatCode>General</c:formatCode>
                <c:ptCount val="9"/>
                <c:pt idx="5">
                  <c:v>143.35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D$2:$D$10</c:f>
              <c:numCache>
                <c:formatCode>General</c:formatCode>
                <c:ptCount val="9"/>
                <c:pt idx="2">
                  <c:v>689.62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E$2:$E$10</c:f>
              <c:numCache>
                <c:formatCode>General</c:formatCode>
                <c:ptCount val="9"/>
                <c:pt idx="1">
                  <c:v>303.089</c:v>
                </c:pt>
                <c:pt idx="2">
                  <c:v>737.8773</c:v>
                </c:pt>
                <c:pt idx="3">
                  <c:v>751.27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F$2:$F$10</c:f>
              <c:numCache>
                <c:formatCode>General</c:formatCode>
                <c:ptCount val="9"/>
                <c:pt idx="6">
                  <c:v>878.9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G$2:$G$10</c:f>
              <c:numCache>
                <c:formatCode>General</c:formatCode>
                <c:ptCount val="9"/>
                <c:pt idx="7">
                  <c:v>750.69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H$2:$H$10</c:f>
              <c:numCache>
                <c:formatCode>General</c:formatCode>
                <c:ptCount val="9"/>
                <c:pt idx="1">
                  <c:v>321.1057</c:v>
                </c:pt>
                <c:pt idx="5">
                  <c:v>534.9792</c:v>
                </c:pt>
                <c:pt idx="6">
                  <c:v>657.6342</c:v>
                </c:pt>
                <c:pt idx="7">
                  <c:v>725.8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I$2:$I$10</c:f>
              <c:numCache>
                <c:formatCode>General</c:formatCode>
                <c:ptCount val="9"/>
                <c:pt idx="0">
                  <c:v>618.1049</c:v>
                </c:pt>
                <c:pt idx="2">
                  <c:v>629.4024</c:v>
                </c:pt>
                <c:pt idx="3">
                  <c:v>689.1231</c:v>
                </c:pt>
                <c:pt idx="4">
                  <c:v>665.4034</c:v>
                </c:pt>
                <c:pt idx="6">
                  <c:v>711.8077</c:v>
                </c:pt>
                <c:pt idx="8">
                  <c:v>628.62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Avene</c:v>
                </c:pt>
                <c:pt idx="3">
                  <c:v>Eucerin</c:v>
                </c:pt>
                <c:pt idx="4">
                  <c:v>La Roche-Posay</c:v>
                </c:pt>
                <c:pt idx="5">
                  <c:v>Others Marca Unif.</c:v>
                </c:pt>
                <c:pt idx="6">
                  <c:v>Vichy</c:v>
                </c:pt>
                <c:pt idx="7">
                  <c:v>Photoderm</c:v>
                </c:pt>
                <c:pt idx="8">
                  <c:v>Heliocare</c:v>
                </c:pt>
              </c:strCache>
            </c:strRef>
          </c:cat>
          <c:val>
            <c:numRef>
              <c:f>Sheet1!$J$2:$J$10</c:f>
              <c:numCache>
                <c:formatCode>General</c:formatCode>
                <c:ptCount val="9"/>
                <c:pt idx="5">
                  <c:v>137.472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B$2:$B$8</c:f>
              <c:numCache>
                <c:formatCode>General</c:formatCode>
                <c:ptCount val="7"/>
                <c:pt idx="2">
                  <c:v>774.5679</c:v>
                </c:pt>
                <c:pt idx="5">
                  <c:v>623.85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C$2:$C$8</c:f>
              <c:numCache>
                <c:formatCode>General</c:formatCode>
                <c:ptCount val="7"/>
                <c:pt idx="0">
                  <c:v>618.9826</c:v>
                </c:pt>
                <c:pt idx="1">
                  <c:v>632.2253</c:v>
                </c:pt>
                <c:pt idx="2">
                  <c:v>734.2303</c:v>
                </c:pt>
                <c:pt idx="3">
                  <c:v>640.4258</c:v>
                </c:pt>
                <c:pt idx="4">
                  <c:v>596.8936</c:v>
                </c:pt>
                <c:pt idx="6">
                  <c:v>605.296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B$2:$B$8</c:f>
              <c:numCache>
                <c:formatCode>General</c:formatCode>
                <c:ptCount val="7"/>
                <c:pt idx="3">
                  <c:v>951.3188</c:v>
                </c:pt>
                <c:pt idx="6">
                  <c:v>511.63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C$2:$C$8</c:f>
              <c:numCache>
                <c:formatCode>General</c:formatCode>
                <c:ptCount val="7"/>
                <c:pt idx="0">
                  <c:v>635.63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D$2:$D$8</c:f>
              <c:numCache>
                <c:formatCode>General</c:formatCode>
                <c:ptCount val="7"/>
                <c:pt idx="4">
                  <c:v>752.56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E$2:$E$8</c:f>
              <c:numCache>
                <c:formatCode>General</c:formatCode>
                <c:ptCount val="7"/>
                <c:pt idx="0">
                  <c:v>481.7396</c:v>
                </c:pt>
                <c:pt idx="1">
                  <c:v>632.3163</c:v>
                </c:pt>
                <c:pt idx="2">
                  <c:v>581.6646</c:v>
                </c:pt>
                <c:pt idx="3">
                  <c:v>631.09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F$2:$F$8</c:f>
              <c:numCache>
                <c:formatCode>General</c:formatCode>
                <c:ptCount val="7"/>
                <c:pt idx="5">
                  <c:v>609.72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41.53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824.68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7.86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B$2:$B$10</c:f>
              <c:numCache>
                <c:formatCode>General</c:formatCode>
                <c:ptCount val="9"/>
                <c:pt idx="2">
                  <c:v>611.5141</c:v>
                </c:pt>
                <c:pt idx="5">
                  <c:v>509.97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C$2:$C$10</c:f>
              <c:numCache>
                <c:formatCode>General</c:formatCode>
                <c:ptCount val="9"/>
                <c:pt idx="1">
                  <c:v>672.85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D$2:$D$10</c:f>
              <c:numCache>
                <c:formatCode>General</c:formatCode>
                <c:ptCount val="9"/>
                <c:pt idx="7">
                  <c:v>447.53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E$2:$E$10</c:f>
              <c:numCache>
                <c:formatCode>General</c:formatCode>
                <c:ptCount val="9"/>
                <c:pt idx="4">
                  <c:v>625.9544</c:v>
                </c:pt>
                <c:pt idx="5">
                  <c:v>521.21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F$2:$F$10</c:f>
              <c:numCache>
                <c:formatCode>General</c:formatCode>
                <c:ptCount val="9"/>
                <c:pt idx="4">
                  <c:v>779.2464</c:v>
                </c:pt>
                <c:pt idx="8">
                  <c:v>888.16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G$2:$G$10</c:f>
              <c:numCache>
                <c:formatCode>General</c:formatCode>
                <c:ptCount val="9"/>
                <c:pt idx="3">
                  <c:v>1207.2752</c:v>
                </c:pt>
                <c:pt idx="6">
                  <c:v>603.33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H$2:$H$10</c:f>
              <c:numCache>
                <c:formatCode>General</c:formatCode>
                <c:ptCount val="9"/>
                <c:pt idx="0">
                  <c:v>243.03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I$2:$I$10</c:f>
              <c:numCache>
                <c:formatCode>General</c:formatCode>
                <c:ptCount val="9"/>
                <c:pt idx="1">
                  <c:v>654.7327</c:v>
                </c:pt>
                <c:pt idx="2">
                  <c:v>670.435</c:v>
                </c:pt>
                <c:pt idx="3">
                  <c:v>679.472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Others Marca Unif.</c:v>
                </c:pt>
                <c:pt idx="2">
                  <c:v>Isdin</c:v>
                </c:pt>
                <c:pt idx="3">
                  <c:v>La Roche-Posay</c:v>
                </c:pt>
                <c:pt idx="4">
                  <c:v>Eucerin</c:v>
                </c:pt>
                <c:pt idx="5">
                  <c:v>Cetaphil</c:v>
                </c:pt>
                <c:pt idx="6">
                  <c:v>Avene</c:v>
                </c:pt>
                <c:pt idx="7">
                  <c:v>Eclipsol</c:v>
                </c:pt>
                <c:pt idx="8">
                  <c:v>Photoderm</c:v>
                </c:pt>
              </c:strCache>
            </c:strRef>
          </c:cat>
          <c:val>
            <c:numRef>
              <c:f>Sheet1!$J$2:$J$10</c:f>
              <c:numCache>
                <c:formatCode>General</c:formatCode>
                <c:ptCount val="9"/>
                <c:pt idx="3">
                  <c:v>524.671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La Roche-Posay</c:v>
                </c:pt>
                <c:pt idx="2">
                  <c:v>Eclipsol</c:v>
                </c:pt>
              </c:strCache>
            </c:strRef>
          </c:cat>
          <c:val>
            <c:numRef>
              <c:f>Sheet1!$B$2:$B$4</c:f>
              <c:numCache>
                <c:formatCode>General</c:formatCode>
                <c:ptCount val="3"/>
                <c:pt idx="2">
                  <c:v>866.5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La Roche-Posay</c:v>
                </c:pt>
                <c:pt idx="2">
                  <c:v>Eclipsol</c:v>
                </c:pt>
              </c:strCache>
            </c:strRef>
          </c:cat>
          <c:val>
            <c:numRef>
              <c:f>Sheet1!$C$2:$C$4</c:f>
              <c:numCache>
                <c:formatCode>General</c:formatCode>
                <c:ptCount val="3"/>
                <c:pt idx="0">
                  <c:v>610.0942</c:v>
                </c:pt>
                <c:pt idx="1">
                  <c:v>751.40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La Roche-Posay</c:v>
                </c:pt>
                <c:pt idx="2">
                  <c:v>Eclipsol</c:v>
                </c:pt>
              </c:strCache>
            </c:strRef>
          </c:cat>
          <c:val>
            <c:numRef>
              <c:f>Sheet1!$D$2:$D$4</c:f>
              <c:numCache>
                <c:formatCode>General</c:formatCode>
                <c:ptCount val="3"/>
                <c:pt idx="0">
                  <c:v>654.76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La Roche-Posay</c:v>
                </c:pt>
                <c:pt idx="2">
                  <c:v>Eclipsol</c:v>
                </c:pt>
              </c:strCache>
            </c:strRef>
          </c:cat>
          <c:val>
            <c:numRef>
              <c:f>Sheet1!$E$2:$E$4</c:f>
              <c:numCache>
                <c:formatCode>General</c:formatCode>
                <c:ptCount val="3"/>
                <c:pt idx="2">
                  <c:v>290.38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La Roche-Posay</c:v>
                </c:pt>
                <c:pt idx="2">
                  <c:v>Eclipsol</c:v>
                </c:pt>
              </c:strCache>
            </c:strRef>
          </c:cat>
          <c:val>
            <c:numRef>
              <c:f>Sheet1!$F$2:$F$4</c:f>
              <c:numCache>
                <c:formatCode>General</c:formatCode>
                <c:ptCount val="3"/>
                <c:pt idx="1">
                  <c:v>526.727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Photoderm</c:v>
                </c:pt>
                <c:pt idx="1">
                  <c:v>La Roche-Posay</c:v>
                </c:pt>
                <c:pt idx="2">
                  <c:v>Genove</c:v>
                </c:pt>
              </c:strCache>
            </c:strRef>
          </c:cat>
          <c:val>
            <c:numRef>
              <c:f>Sheet1!$B$2:$B$4</c:f>
              <c:numCache>
                <c:formatCode>General</c:formatCode>
                <c:ptCount val="3"/>
                <c:pt idx="2">
                  <c:v>636.08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C$2:$C$4</c:f>
              <c:numCache>
                <c:formatCode>General</c:formatCode>
                <c:ptCount val="3"/>
                <c:pt idx="0">
                  <c:v>736.31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D$2:$D$4</c:f>
              <c:numCache>
                <c:formatCode>General</c:formatCode>
                <c:ptCount val="3"/>
                <c:pt idx="0">
                  <c:v>879.1412</c:v>
                </c:pt>
                <c:pt idx="1">
                  <c:v>1043.20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E$2:$E$4</c:f>
              <c:numCache>
                <c:formatCode>General</c:formatCode>
                <c:ptCount val="3"/>
                <c:pt idx="0">
                  <c:v>724.52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F$2:$F$4</c:f>
              <c:numCache>
                <c:formatCode>General</c:formatCode>
                <c:ptCount val="3"/>
                <c:pt idx="0">
                  <c:v>1116.825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480.527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B$2:$B$5</c:f>
              <c:numCache>
                <c:formatCode>General</c:formatCode>
                <c:ptCount val="4"/>
                <c:pt idx="2">
                  <c:v>74.77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Others Marca Unif.</c:v>
                </c:pt>
                <c:pt idx="3">
                  <c:v>All Others</c:v>
                </c:pt>
              </c:strCache>
            </c:strRef>
          </c:cat>
          <c:val>
            <c:numRef>
              <c:f>Sheet1!$C$2:$C$5</c:f>
              <c:numCache>
                <c:formatCode>General</c:formatCode>
                <c:ptCount val="4"/>
                <c:pt idx="1">
                  <c:v>102.95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D$2:$D$5</c:f>
              <c:numCache>
                <c:formatCode>General</c:formatCode>
                <c:ptCount val="4"/>
                <c:pt idx="2">
                  <c:v>358.57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E$2:$E$5</c:f>
              <c:numCache>
                <c:formatCode>General</c:formatCode>
                <c:ptCount val="4"/>
                <c:pt idx="0">
                  <c:v>267.45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Others Marca Unif.</c:v>
                </c:pt>
                <c:pt idx="3">
                  <c:v>All Others</c:v>
                </c:pt>
              </c:strCache>
            </c:strRef>
          </c:cat>
          <c:val>
            <c:numRef>
              <c:f>Sheet1!$F$2:$F$5</c:f>
              <c:numCache>
                <c:formatCode>General</c:formatCode>
                <c:ptCount val="4"/>
                <c:pt idx="3">
                  <c:v>1105.12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G$2:$G$5</c:f>
              <c:numCache>
                <c:formatCode>General</c:formatCode>
                <c:ptCount val="4"/>
                <c:pt idx="2">
                  <c:v>107.0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H$2:$H$5</c:f>
              <c:numCache>
                <c:formatCode>General</c:formatCode>
                <c:ptCount val="4"/>
                <c:pt idx="0">
                  <c:v>256.55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Others Marca Unif.</c:v>
                </c:pt>
                <c:pt idx="3">
                  <c:v>All Others</c:v>
                </c:pt>
              </c:strCache>
            </c:strRef>
          </c:cat>
          <c:val>
            <c:numRef>
              <c:f>Sheet1!$I$2:$I$5</c:f>
              <c:numCache>
                <c:formatCode>General</c:formatCode>
                <c:ptCount val="4"/>
                <c:pt idx="1">
                  <c:v>148.165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Others Marca Unif.</c:v>
                </c:pt>
                <c:pt idx="3">
                  <c:v>All Others</c:v>
                </c:pt>
              </c:strCache>
            </c:strRef>
          </c:cat>
          <c:val>
            <c:numRef>
              <c:f>Sheet1!$J$2:$J$5</c:f>
              <c:numCache>
                <c:formatCode>General</c:formatCode>
                <c:ptCount val="4"/>
                <c:pt idx="1">
                  <c:v>32.897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8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B$2:$B$3</c:f>
              <c:numCache>
                <c:formatCode>General</c:formatCode>
                <c:ptCount val="2"/>
                <c:pt idx="1">
                  <c:v>188.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C$2:$C$3</c:f>
              <c:numCache>
                <c:formatCode>General</c:formatCode>
                <c:ptCount val="2"/>
                <c:pt idx="1">
                  <c:v>272.8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D$2:$D$3</c:f>
              <c:numCache>
                <c:formatCode>General</c:formatCode>
                <c:ptCount val="2"/>
                <c:pt idx="1">
                  <c:v>251.98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E$2:$E$3</c:f>
              <c:numCache>
                <c:formatCode>General</c:formatCode>
                <c:ptCount val="2"/>
                <c:pt idx="0">
                  <c:v>289.6958</c:v>
                </c:pt>
                <c:pt idx="1">
                  <c:v>280.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F$2:$F$3</c:f>
              <c:numCache>
                <c:formatCode>General</c:formatCode>
                <c:ptCount val="2"/>
                <c:pt idx="0">
                  <c:v>268.52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G$2:$G$3</c:f>
              <c:numCache>
                <c:formatCode>General</c:formatCode>
                <c:ptCount val="2"/>
                <c:pt idx="0">
                  <c:v>81.016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1">
                  <c:v>399.4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0">
                  <c:v>265.43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0">
                  <c:v>291.37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1">
                  <c:v>298.46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F$2:$F$3</c:f>
              <c:numCache>
                <c:formatCode>General</c:formatCode>
                <c:ptCount val="2"/>
                <c:pt idx="0">
                  <c:v>70.86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10.276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Australian Gold</c:v>
                </c:pt>
                <c:pt idx="2">
                  <c:v>Ocean Potion</c:v>
                </c:pt>
                <c:pt idx="3">
                  <c:v>Others Marca Unif.</c:v>
                </c:pt>
              </c:strCache>
            </c:strRef>
          </c:cat>
          <c:val>
            <c:numRef>
              <c:f>Sheet1!$B$2:$B$5</c:f>
              <c:numCache>
                <c:formatCode>General</c:formatCode>
                <c:ptCount val="4"/>
                <c:pt idx="3">
                  <c:v>201.22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Australian Gold</c:v>
                </c:pt>
                <c:pt idx="2">
                  <c:v>Ocean Potion</c:v>
                </c:pt>
                <c:pt idx="3">
                  <c:v>Others Marca Unif.</c:v>
                </c:pt>
              </c:strCache>
            </c:strRef>
          </c:cat>
          <c:val>
            <c:numRef>
              <c:f>Sheet1!$C$2:$C$5</c:f>
              <c:numCache>
                <c:formatCode>General</c:formatCode>
                <c:ptCount val="4"/>
                <c:pt idx="2">
                  <c:v>320.19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Australian Gold</c:v>
                </c:pt>
                <c:pt idx="2">
                  <c:v>Ocean Potion</c:v>
                </c:pt>
                <c:pt idx="3">
                  <c:v>Others Marca Unif.</c:v>
                </c:pt>
              </c:strCache>
            </c:strRef>
          </c:cat>
          <c:val>
            <c:numRef>
              <c:f>Sheet1!$D$2:$D$5</c:f>
              <c:numCache>
                <c:formatCode>General</c:formatCode>
                <c:ptCount val="4"/>
                <c:pt idx="0">
                  <c:v>209.3251</c:v>
                </c:pt>
                <c:pt idx="1">
                  <c:v>393.949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eliocare</c:v>
                </c:pt>
              </c:strCache>
            </c:strRef>
          </c:cat>
          <c:val>
            <c:numRef>
              <c:f>Sheet1!$B$2:$B$2</c:f>
              <c:numCache>
                <c:formatCode>General</c:formatCode>
                <c:ptCount val="1"/>
                <c:pt idx="0">
                  <c:v>555.999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dLblPos val="t"/>
              <c:showLegendKey val="0"/>
              <c:showVal val="1"/>
              <c:showCatName val="0"/>
              <c:showSerName val="0"/>
              <c:showPercent val="0"/>
              <c:showBubbleSize val="0"/>
            </c:dLbl>
            <c:dLbl>
              <c:idx val="1"/>
              <c:tx>
                <c:rich>
                  <a:bodyPr/>
                  <a:lstStyle/>
                  <a:p>
                    <a:r>
                      <a:t>318.53</a:t>
                    </a:r>
                  </a:p>
                </c:rich>
              </c:tx>
              <c:dLblPos val="t"/>
              <c:showLegendKey val="0"/>
              <c:showVal val="1"/>
              <c:showCatName val="0"/>
              <c:showSerName val="0"/>
              <c:showPercent val="0"/>
              <c:showBubbleSize val="0"/>
            </c:dLbl>
            <c:dLbl>
              <c:idx val="2"/>
              <c:tx>
                <c:rich>
                  <a:bodyPr/>
                  <a:lstStyle/>
                  <a:p>
                    <a:r>
                      <a:t>347.12</a:t>
                    </a:r>
                  </a:p>
                </c:rich>
              </c:tx>
              <c:dLblPos val="t"/>
              <c:showLegendKey val="0"/>
              <c:showVal val="1"/>
              <c:showCatName val="0"/>
              <c:showSerName val="0"/>
              <c:showPercent val="0"/>
              <c:showBubbleSize val="0"/>
            </c:dLbl>
            <c:dLbl>
              <c:idx val="3"/>
              <c:tx>
                <c:rich>
                  <a:bodyPr/>
                  <a:lstStyle/>
                  <a:p>
                    <a:r>
                      <a:t>330.0</a:t>
                    </a:r>
                  </a:p>
                </c:rich>
              </c:tx>
              <c:dLblPos val="t"/>
              <c:showLegendKey val="0"/>
              <c:showVal val="1"/>
              <c:showCatName val="0"/>
              <c:showSerName val="0"/>
              <c:showPercent val="0"/>
              <c:showBubbleSize val="0"/>
            </c:dLbl>
            <c:dLbl>
              <c:idx val="4"/>
              <c:tx>
                <c:rich>
                  <a:bodyPr/>
                  <a:lstStyle/>
                  <a:p>
                    <a:r>
                      <a:t>325.31</a:t>
                    </a:r>
                  </a:p>
                </c:rich>
              </c:tx>
              <c:dLblPos val="t"/>
              <c:showLegendKey val="0"/>
              <c:showVal val="1"/>
              <c:showCatName val="0"/>
              <c:showSerName val="0"/>
              <c:showPercent val="0"/>
              <c:showBubbleSize val="0"/>
            </c:dLbl>
            <c:dLbl>
              <c:idx val="5"/>
              <c:tx>
                <c:rich>
                  <a:bodyPr/>
                  <a:lstStyle/>
                  <a:p>
                    <a:r>
                      <a:t>313.71</a:t>
                    </a:r>
                  </a:p>
                </c:rich>
              </c:tx>
              <c:dLblPos val="t"/>
              <c:showLegendKey val="0"/>
              <c:showVal val="1"/>
              <c:showCatName val="0"/>
              <c:showSerName val="0"/>
              <c:showPercent val="0"/>
              <c:showBubbleSize val="0"/>
            </c:dLbl>
            <c:dLbl>
              <c:idx val="6"/>
              <c:tx>
                <c:rich>
                  <a:bodyPr/>
                  <a:lstStyle/>
                  <a:p>
                    <a:r>
                      <a:t>97.58</a:t>
                    </a:r>
                  </a:p>
                </c:rich>
              </c:tx>
              <c:dLblPos val="t"/>
              <c:showLegendKey val="0"/>
              <c:showVal val="1"/>
              <c:showCatName val="0"/>
              <c:showSerName val="0"/>
              <c:showPercent val="0"/>
              <c:showBubbleSize val="0"/>
            </c:dLbl>
            <c:dLbl>
              <c:idx val="7"/>
              <c:tx>
                <c:rich>
                  <a:bodyPr/>
                  <a:lstStyle/>
                  <a:p>
                    <a:r>
                      <a:t>80.72</a:t>
                    </a:r>
                  </a:p>
                </c:rich>
              </c:tx>
              <c:dLblPos val="t"/>
              <c:showLegendKey val="0"/>
              <c:showVal val="1"/>
              <c:showCatName val="0"/>
              <c:showSerName val="0"/>
              <c:showPercent val="0"/>
              <c:showBubbleSize val="0"/>
            </c:dLbl>
            <c:dLbl>
              <c:idx val="8"/>
              <c:tx>
                <c:rich>
                  <a:bodyPr/>
                  <a:lstStyle/>
                  <a:p>
                    <a:r>
                      <a:t>397.68</a:t>
                    </a:r>
                  </a:p>
                </c:rich>
              </c:tx>
              <c:dLblPos val="t"/>
              <c:showLegendKey val="0"/>
              <c:showVal val="1"/>
              <c:showCatName val="0"/>
              <c:showSerName val="0"/>
              <c:showPercent val="0"/>
              <c:showBubbleSize val="0"/>
            </c:dLbl>
            <c:dLbl>
              <c:idx val="9"/>
              <c:tx>
                <c:rich>
                  <a:bodyPr/>
                  <a:lstStyle/>
                  <a:p>
                    <a:r>
                      <a:t>252.72</a:t>
                    </a:r>
                  </a:p>
                </c:rich>
              </c:tx>
              <c:dLblPos val="t"/>
              <c:showLegendKey val="0"/>
              <c:showVal val="1"/>
              <c:showCatName val="0"/>
              <c:showSerName val="0"/>
              <c:showPercent val="0"/>
              <c:showBubbleSize val="0"/>
            </c:dLbl>
            <c:dLbl>
              <c:idx val="10"/>
              <c:tx>
                <c:rich>
                  <a:bodyPr/>
                  <a:lstStyle/>
                  <a:p>
                    <a:r>
                      <a:t>273.42</a:t>
                    </a:r>
                  </a:p>
                </c:rich>
              </c:tx>
              <c:dLblPos val="t"/>
              <c:showLegendKey val="0"/>
              <c:showVal val="1"/>
              <c:showCatName val="0"/>
              <c:showSerName val="0"/>
              <c:showPercent val="0"/>
              <c:showBubbleSize val="0"/>
            </c:dLbl>
            <c:dLbl>
              <c:idx val="11"/>
              <c:tx>
                <c:rich>
                  <a:bodyPr/>
                  <a:lstStyle/>
                  <a:p>
                    <a:r>
                      <a:t>272.33</a:t>
                    </a:r>
                  </a:p>
                </c:rich>
              </c:tx>
              <c:dLblPos val="t"/>
              <c:showLegendKey val="0"/>
              <c:showVal val="1"/>
              <c:showCatName val="0"/>
              <c:showSerName val="0"/>
              <c:showPercent val="0"/>
              <c:showBubbleSize val="0"/>
            </c:dLbl>
            <c:dLbl>
              <c:idx val="12"/>
              <c:tx>
                <c:rich>
                  <a:bodyPr/>
                  <a:lstStyle/>
                  <a:p>
                    <a:r>
                      <a:t>310.55</a:t>
                    </a:r>
                  </a:p>
                </c:rich>
              </c:tx>
              <c:dLblPos val="t"/>
              <c:showLegendKey val="0"/>
              <c:showVal val="1"/>
              <c:showCatName val="0"/>
              <c:showSerName val="0"/>
              <c:showPercent val="0"/>
              <c:showBubbleSize val="0"/>
            </c:dLbl>
            <c:dLbl>
              <c:idx val="13"/>
              <c:tx>
                <c:rich>
                  <a:bodyPr/>
                  <a:lstStyle/>
                  <a:p>
                    <a:r>
                      <a:t>277.66</a:t>
                    </a:r>
                  </a:p>
                </c:rich>
              </c:tx>
              <c:dLblPos val="t"/>
              <c:showLegendKey val="0"/>
              <c:showVal val="1"/>
              <c:showCatName val="0"/>
              <c:showSerName val="0"/>
              <c:showPercent val="0"/>
              <c:showBubbleSize val="0"/>
            </c:dLbl>
            <c:dLbl>
              <c:idx val="14"/>
              <c:tx>
                <c:rich>
                  <a:bodyPr/>
                  <a:lstStyle/>
                  <a:p>
                    <a:r>
                      <a:t>229.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Edgewell Hawaiian Tropic Tanning Sunscreen Adults Cosmetics Spray Liquido 15 - 19 220Ml</c:v>
                </c:pt>
                <c:pt idx="6">
                  <c:v>Edgewell Hawaiian Tropic Sheer Touch Sunscreen Adults Cosmetics Liquido 30 - 49 60Ml</c:v>
                </c:pt>
                <c:pt idx="7">
                  <c:v>Edgewell Hawaiian Tropic Island Sport Sunscreen Adults Sport Liquido 50 60Ml</c:v>
                </c:pt>
                <c:pt idx="8">
                  <c:v>Edgewell Hawaiian Tropic Silk Hydration Sunscreen Adults Cosmetics Liquido 50 180Ml</c:v>
                </c:pt>
                <c:pt idx="9">
                  <c:v>Edgewell Hawaiian Tropic Carrot Sunscreen Adults Cosmetics Spray Liquido 30 - 49 177Ml</c:v>
                </c:pt>
                <c:pt idx="10">
                  <c:v>Edgewell Hawaiian Tropic Silk Hydration Sunscreen Adults Cosmetics Spray Liquido 50+ 180Ml</c:v>
                </c:pt>
                <c:pt idx="11">
                  <c:v>Edgewell Hawaiian Tropic Silk Hydration Sunscreen Adults Cosmetics Spray Liquido 50 15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33</c:v>
                </c:pt>
                <c:pt idx="1">
                  <c:v>318.53</c:v>
                </c:pt>
                <c:pt idx="2">
                  <c:v>347.12</c:v>
                </c:pt>
                <c:pt idx="3">
                  <c:v>330.0</c:v>
                </c:pt>
                <c:pt idx="4">
                  <c:v>325.31</c:v>
                </c:pt>
                <c:pt idx="5">
                  <c:v>313.71</c:v>
                </c:pt>
                <c:pt idx="6">
                  <c:v>97.58</c:v>
                </c:pt>
                <c:pt idx="7">
                  <c:v>80.72</c:v>
                </c:pt>
                <c:pt idx="8">
                  <c:v>397.68</c:v>
                </c:pt>
                <c:pt idx="9">
                  <c:v>252.72</c:v>
                </c:pt>
                <c:pt idx="10">
                  <c:v>273.42</c:v>
                </c:pt>
                <c:pt idx="11">
                  <c:v>272.33</c:v>
                </c:pt>
                <c:pt idx="12">
                  <c:v>310.55</c:v>
                </c:pt>
                <c:pt idx="13">
                  <c:v>277.66</c:v>
                </c:pt>
                <c:pt idx="14">
                  <c:v>22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dLblPos val="t"/>
              <c:showLegendKey val="0"/>
              <c:showVal val="1"/>
              <c:showCatName val="0"/>
              <c:showSerName val="0"/>
              <c:showPercent val="0"/>
              <c:showBubbleSize val="0"/>
            </c:dLbl>
            <c:dLbl>
              <c:idx val="1"/>
              <c:tx>
                <c:rich>
                  <a:bodyPr/>
                  <a:lstStyle/>
                  <a:p>
                    <a:r>
                      <a:t>311.89</a:t>
                    </a:r>
                  </a:p>
                </c:rich>
              </c:tx>
              <c:dLblPos val="t"/>
              <c:showLegendKey val="0"/>
              <c:showVal val="1"/>
              <c:showCatName val="0"/>
              <c:showSerName val="0"/>
              <c:showPercent val="0"/>
              <c:showBubbleSize val="0"/>
            </c:dLbl>
            <c:dLbl>
              <c:idx val="2"/>
              <c:tx>
                <c:rich>
                  <a:bodyPr/>
                  <a:lstStyle/>
                  <a:p>
                    <a:r>
                      <a:t>101.93</a:t>
                    </a:r>
                  </a:p>
                </c:rich>
              </c:tx>
              <c:dLblPos val="t"/>
              <c:showLegendKey val="0"/>
              <c:showVal val="1"/>
              <c:showCatName val="0"/>
              <c:showSerName val="0"/>
              <c:showPercent val="0"/>
              <c:showBubbleSize val="0"/>
            </c:dLbl>
            <c:dLbl>
              <c:idx val="3"/>
              <c:tx>
                <c:rich>
                  <a:bodyPr/>
                  <a:lstStyle/>
                  <a:p>
                    <a:r>
                      <a:t>297.28</a:t>
                    </a:r>
                  </a:p>
                </c:rich>
              </c:tx>
              <c:dLblPos val="t"/>
              <c:showLegendKey val="0"/>
              <c:showVal val="1"/>
              <c:showCatName val="0"/>
              <c:showSerName val="0"/>
              <c:showPercent val="0"/>
              <c:showBubbleSize val="0"/>
            </c:dLbl>
            <c:dLbl>
              <c:idx val="4"/>
              <c:tx>
                <c:rich>
                  <a:bodyPr/>
                  <a:lstStyle/>
                  <a:p>
                    <a:r>
                      <a:t>309.44</a:t>
                    </a:r>
                  </a:p>
                </c:rich>
              </c:tx>
              <c:dLblPos val="t"/>
              <c:showLegendKey val="0"/>
              <c:showVal val="1"/>
              <c:showCatName val="0"/>
              <c:showSerName val="0"/>
              <c:showPercent val="0"/>
              <c:showBubbleSize val="0"/>
            </c:dLbl>
            <c:dLbl>
              <c:idx val="5"/>
              <c:tx>
                <c:rich>
                  <a:bodyPr/>
                  <a:lstStyle/>
                  <a:p>
                    <a:r>
                      <a:t>292.64</a:t>
                    </a:r>
                  </a:p>
                </c:rich>
              </c:tx>
              <c:dLblPos val="t"/>
              <c:showLegendKey val="0"/>
              <c:showVal val="1"/>
              <c:showCatName val="0"/>
              <c:showSerName val="0"/>
              <c:showPercent val="0"/>
              <c:showBubbleSize val="0"/>
            </c:dLbl>
            <c:dLbl>
              <c:idx val="6"/>
              <c:tx>
                <c:rich>
                  <a:bodyPr/>
                  <a:lstStyle/>
                  <a:p>
                    <a:r>
                      <a:t>189.58</a:t>
                    </a:r>
                  </a:p>
                </c:rich>
              </c:tx>
              <c:dLblPos val="t"/>
              <c:showLegendKey val="0"/>
              <c:showVal val="1"/>
              <c:showCatName val="0"/>
              <c:showSerName val="0"/>
              <c:showPercent val="0"/>
              <c:showBubbleSize val="0"/>
            </c:dLbl>
            <c:dLbl>
              <c:idx val="7"/>
              <c:tx>
                <c:rich>
                  <a:bodyPr/>
                  <a:lstStyle/>
                  <a:p>
                    <a:r>
                      <a:t>290.8</a:t>
                    </a:r>
                  </a:p>
                </c:rich>
              </c:tx>
              <c:dLblPos val="t"/>
              <c:showLegendKey val="0"/>
              <c:showVal val="1"/>
              <c:showCatName val="0"/>
              <c:showSerName val="0"/>
              <c:showPercent val="0"/>
              <c:showBubbleSize val="0"/>
            </c:dLbl>
            <c:dLbl>
              <c:idx val="8"/>
              <c:tx>
                <c:rich>
                  <a:bodyPr/>
                  <a:lstStyle/>
                  <a:p>
                    <a:r>
                      <a:t>101.27</a:t>
                    </a:r>
                  </a:p>
                </c:rich>
              </c:tx>
              <c:dLblPos val="t"/>
              <c:showLegendKey val="0"/>
              <c:showVal val="1"/>
              <c:showCatName val="0"/>
              <c:showSerName val="0"/>
              <c:showPercent val="0"/>
              <c:showBubbleSize val="0"/>
            </c:dLbl>
            <c:dLbl>
              <c:idx val="9"/>
              <c:tx>
                <c:rich>
                  <a:bodyPr/>
                  <a:lstStyle/>
                  <a:p>
                    <a:r>
                      <a:t>302.7</a:t>
                    </a:r>
                  </a:p>
                </c:rich>
              </c:tx>
              <c:dLblPos val="t"/>
              <c:showLegendKey val="0"/>
              <c:showVal val="1"/>
              <c:showCatName val="0"/>
              <c:showSerName val="0"/>
              <c:showPercent val="0"/>
              <c:showBubbleSize val="0"/>
            </c:dLbl>
            <c:dLbl>
              <c:idx val="10"/>
              <c:tx>
                <c:rich>
                  <a:bodyPr/>
                  <a:lstStyle/>
                  <a:p>
                    <a:r>
                      <a:t>188.44</a:t>
                    </a:r>
                  </a:p>
                </c:rich>
              </c:tx>
              <c:dLblPos val="t"/>
              <c:showLegendKey val="0"/>
              <c:showVal val="1"/>
              <c:showCatName val="0"/>
              <c:showSerName val="0"/>
              <c:showPercent val="0"/>
              <c:showBubbleSize val="0"/>
            </c:dLbl>
            <c:dLbl>
              <c:idx val="11"/>
              <c:tx>
                <c:rich>
                  <a:bodyPr/>
                  <a:lstStyle/>
                  <a:p>
                    <a:r>
                      <a:t>295.27</a:t>
                    </a:r>
                  </a:p>
                </c:rich>
              </c:tx>
              <c:dLblPos val="t"/>
              <c:showLegendKey val="0"/>
              <c:showVal val="1"/>
              <c:showCatName val="0"/>
              <c:showSerName val="0"/>
              <c:showPercent val="0"/>
              <c:showBubbleSize val="0"/>
            </c:dLbl>
            <c:dLbl>
              <c:idx val="12"/>
              <c:tx>
                <c:rich>
                  <a:bodyPr/>
                  <a:lstStyle/>
                  <a:p>
                    <a:r>
                      <a:t>305.15</a:t>
                    </a:r>
                  </a:p>
                </c:rich>
              </c:tx>
              <c:dLblPos val="t"/>
              <c:showLegendKey val="0"/>
              <c:showVal val="1"/>
              <c:showCatName val="0"/>
              <c:showSerName val="0"/>
              <c:showPercent val="0"/>
              <c:showBubbleSize val="0"/>
            </c:dLbl>
            <c:dLbl>
              <c:idx val="13"/>
              <c:tx>
                <c:rich>
                  <a:bodyPr/>
                  <a:lstStyle/>
                  <a:p>
                    <a:r>
                      <a:t>325.25</a:t>
                    </a:r>
                  </a:p>
                </c:rich>
              </c:tx>
              <c:dLblPos val="t"/>
              <c:showLegendKey val="0"/>
              <c:showVal val="1"/>
              <c:showCatName val="0"/>
              <c:showSerName val="0"/>
              <c:showPercent val="0"/>
              <c:showBubbleSize val="0"/>
            </c:dLbl>
            <c:dLbl>
              <c:idx val="14"/>
              <c:tx>
                <c:rich>
                  <a:bodyPr/>
                  <a:lstStyle/>
                  <a:p>
                    <a:r>
                      <a:t>86.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Silk Hydration Sunscreen Adults Cosmetics Spray Liquido 50+ 180Ml</c:v>
                </c:pt>
                <c:pt idx="5">
                  <c:v>Edgewell Hawaiian Tropic Tanning Sunscreen Adults Cosmetics Spray Liquido 15 - 19 220Ml</c:v>
                </c:pt>
                <c:pt idx="6">
                  <c:v>Edgewell Hawaiian Tropic Ozono Sunscreen Adults Cosmetics Liquido 50+ 120Ml</c:v>
                </c:pt>
                <c:pt idx="7">
                  <c:v>Edgewell Hawaiian Tropic Ozono Sunscreen Adults Cosmetics Liquido 50+ 18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301.59</c:v>
                </c:pt>
                <c:pt idx="1">
                  <c:v>311.89</c:v>
                </c:pt>
                <c:pt idx="2">
                  <c:v>101.93</c:v>
                </c:pt>
                <c:pt idx="3">
                  <c:v>297.28</c:v>
                </c:pt>
                <c:pt idx="4">
                  <c:v>309.44</c:v>
                </c:pt>
                <c:pt idx="5">
                  <c:v>292.64</c:v>
                </c:pt>
                <c:pt idx="6">
                  <c:v>189.58</c:v>
                </c:pt>
                <c:pt idx="7">
                  <c:v>290.8</c:v>
                </c:pt>
                <c:pt idx="8">
                  <c:v>101.27</c:v>
                </c:pt>
                <c:pt idx="9">
                  <c:v>302.7</c:v>
                </c:pt>
                <c:pt idx="10">
                  <c:v>188.44</c:v>
                </c:pt>
                <c:pt idx="11">
                  <c:v>295.27</c:v>
                </c:pt>
                <c:pt idx="12">
                  <c:v>305.15</c:v>
                </c:pt>
                <c:pt idx="13">
                  <c:v>325.25</c:v>
                </c:pt>
                <c:pt idx="14">
                  <c:v>8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1">
                  <c:v>440.04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1">
                  <c:v>366.54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0">
                  <c:v>395.6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1">
                  <c:v>158.98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9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B$2:$B$9</c:f>
              <c:numCache>
                <c:formatCode>General</c:formatCode>
                <c:ptCount val="8"/>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C$2:$C$9</c:f>
              <c:numCache>
                <c:formatCode>General</c:formatCode>
                <c:ptCount val="8"/>
                <c:pt idx="1">
                  <c:v>9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D$2:$D$9</c:f>
              <c:numCache>
                <c:formatCode>General</c:formatCode>
                <c:ptCount val="8"/>
                <c:pt idx="0">
                  <c:v>197.704</c:v>
                </c:pt>
                <c:pt idx="1">
                  <c:v>208.25</c:v>
                </c:pt>
                <c:pt idx="6">
                  <c:v>79.34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E$2:$E$9</c:f>
              <c:numCache>
                <c:formatCode>General</c:formatCode>
                <c:ptCount val="8"/>
                <c:pt idx="3">
                  <c:v>138.52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F$2:$F$9</c:f>
              <c:numCache>
                <c:formatCode>General</c:formatCode>
                <c:ptCount val="8"/>
                <c:pt idx="4">
                  <c:v>95.2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G$2:$G$9</c:f>
              <c:numCache>
                <c:formatCode>General</c:formatCode>
                <c:ptCount val="8"/>
                <c:pt idx="0">
                  <c:v>223.5671</c:v>
                </c:pt>
                <c:pt idx="1">
                  <c:v>328.07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H$2:$H$9</c:f>
              <c:numCache>
                <c:formatCode>General</c:formatCode>
                <c:ptCount val="8"/>
                <c:pt idx="2">
                  <c:v>331.9868</c:v>
                </c:pt>
                <c:pt idx="3">
                  <c:v>209.25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I$2:$I$9</c:f>
              <c:numCache>
                <c:formatCode>General</c:formatCode>
                <c:ptCount val="8"/>
                <c:pt idx="1">
                  <c:v>250.894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J$2:$J$9</c:f>
              <c:numCache>
                <c:formatCode>General</c:formatCode>
                <c:ptCount val="8"/>
                <c:pt idx="1">
                  <c:v>301.52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K$2:$K$9</c:f>
              <c:numCache>
                <c:formatCode>General</c:formatCode>
                <c:ptCount val="8"/>
                <c:pt idx="0">
                  <c:v>282.509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L$2:$L$9</c:f>
              <c:numCache>
                <c:formatCode>General</c:formatCode>
                <c:ptCount val="8"/>
                <c:pt idx="2">
                  <c:v>294.61</c:v>
                </c:pt>
                <c:pt idx="5">
                  <c:v>195.413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M$2:$M$9</c:f>
              <c:numCache>
                <c:formatCode>General</c:formatCode>
                <c:ptCount val="8"/>
                <c:pt idx="2">
                  <c:v>300.2204</c:v>
                </c:pt>
                <c:pt idx="3">
                  <c:v>328.72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N$2:$N$9</c:f>
              <c:numCache>
                <c:formatCode>General</c:formatCode>
                <c:ptCount val="8"/>
                <c:pt idx="1">
                  <c:v>54.3333</c:v>
                </c:pt>
                <c:pt idx="4">
                  <c:v>36.185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O$2:$O$9</c:f>
              <c:numCache>
                <c:formatCode>General</c:formatCode>
                <c:ptCount val="8"/>
                <c:pt idx="7">
                  <c:v>888.78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Others Marca Unif.</c:v>
                </c:pt>
                <c:pt idx="4">
                  <c:v>Caribbean Beach</c:v>
                </c:pt>
                <c:pt idx="5">
                  <c:v>Garnier</c:v>
                </c:pt>
                <c:pt idx="6">
                  <c:v>Nuvel</c:v>
                </c:pt>
                <c:pt idx="7">
                  <c:v>All Others</c:v>
                </c:pt>
              </c:strCache>
            </c:strRef>
          </c:cat>
          <c:val>
            <c:numRef>
              <c:f>Sheet1!$P$2:$P$9</c:f>
              <c:numCache>
                <c:formatCode>General</c:formatCode>
                <c:ptCount val="8"/>
                <c:pt idx="0">
                  <c:v>104.1795</c:v>
                </c:pt>
                <c:pt idx="3">
                  <c:v>102.290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Nivea</c:v>
                </c:pt>
              </c:strCache>
            </c:strRef>
          </c:cat>
          <c:val>
            <c:numRef>
              <c:f>Sheet1!$B$2:$B$3</c:f>
              <c:numCache>
                <c:formatCode>General</c:formatCode>
                <c:ptCount val="2"/>
                <c:pt idx="1">
                  <c:v>313.48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ivea</c:v>
                </c:pt>
              </c:strCache>
            </c:strRef>
          </c:cat>
          <c:val>
            <c:numRef>
              <c:f>Sheet1!$C$2:$C$3</c:f>
              <c:numCache>
                <c:formatCode>General</c:formatCode>
                <c:ptCount val="2"/>
                <c:pt idx="0">
                  <c:v>342.196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0">
                  <c:v>333.69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Others Marca Unif.</c:v>
                </c:pt>
              </c:strCache>
            </c:strRef>
          </c:cat>
          <c:val>
            <c:numRef>
              <c:f>Sheet1!$C$2:$C$3</c:f>
              <c:numCache>
                <c:formatCode>General</c:formatCode>
                <c:ptCount val="2"/>
                <c:pt idx="0">
                  <c:v>339.2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D$2:$D$3</c:f>
              <c:numCache>
                <c:formatCode>General</c:formatCode>
                <c:ptCount val="2"/>
                <c:pt idx="1">
                  <c:v>563.47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E$2:$E$3</c:f>
              <c:numCache>
                <c:formatCode>General</c:formatCode>
                <c:ptCount val="2"/>
                <c:pt idx="1">
                  <c:v>421.91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B$2:$B$6</c:f>
              <c:numCache>
                <c:formatCode>General</c:formatCode>
                <c:ptCount val="5"/>
                <c:pt idx="0">
                  <c:v>364.9119</c:v>
                </c:pt>
                <c:pt idx="2">
                  <c:v>39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C$2:$C$6</c:f>
              <c:numCache>
                <c:formatCode>General</c:formatCode>
                <c:ptCount val="5"/>
                <c:pt idx="1">
                  <c:v>423.85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D$2:$D$6</c:f>
              <c:numCache>
                <c:formatCode>General</c:formatCode>
                <c:ptCount val="5"/>
                <c:pt idx="0">
                  <c:v>150.77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E$2:$E$6</c:f>
              <c:numCache>
                <c:formatCode>General</c:formatCode>
                <c:ptCount val="5"/>
                <c:pt idx="3">
                  <c:v>170.66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F$2:$F$6</c:f>
              <c:numCache>
                <c:formatCode>General</c:formatCode>
                <c:ptCount val="5"/>
                <c:pt idx="0">
                  <c:v>263.84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G$2:$G$6</c:f>
              <c:numCache>
                <c:formatCode>General</c:formatCode>
                <c:ptCount val="5"/>
                <c:pt idx="1">
                  <c:v>300.553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H$2:$H$6</c:f>
              <c:numCache>
                <c:formatCode>General</c:formatCode>
                <c:ptCount val="5"/>
                <c:pt idx="0">
                  <c:v>247.3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I$2:$I$6</c:f>
              <c:numCache>
                <c:formatCode>General</c:formatCode>
                <c:ptCount val="5"/>
                <c:pt idx="0">
                  <c:v>296.991</c:v>
                </c:pt>
                <c:pt idx="1">
                  <c:v>252.9749</c:v>
                </c:pt>
                <c:pt idx="2">
                  <c:v>551.16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J$2:$J$6</c:f>
              <c:numCache>
                <c:formatCode>General</c:formatCode>
                <c:ptCount val="5"/>
                <c:pt idx="3">
                  <c:v>337.2217</c:v>
                </c:pt>
                <c:pt idx="4">
                  <c:v>359.3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K$2:$K$6</c:f>
              <c:numCache>
                <c:formatCode>General</c:formatCode>
                <c:ptCount val="5"/>
                <c:pt idx="0">
                  <c:v>309.348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L$2:$L$6</c:f>
              <c:numCache>
                <c:formatCode>General</c:formatCode>
                <c:ptCount val="5"/>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Others Marca Unif.</c:v>
                </c:pt>
              </c:strCache>
            </c:strRef>
          </c:cat>
          <c:val>
            <c:numRef>
              <c:f>Sheet1!$M$2:$M$6</c:f>
              <c:numCache>
                <c:formatCode>General</c:formatCode>
                <c:ptCount val="5"/>
                <c:pt idx="0">
                  <c:v>281.7179</c:v>
                </c:pt>
                <c:pt idx="1">
                  <c:v>278.9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Others Marca Unif.</c:v>
                </c:pt>
              </c:strCache>
            </c:strRef>
          </c:cat>
          <c:val>
            <c:numRef>
              <c:f>Sheet1!$N$2:$N$6</c:f>
              <c:numCache>
                <c:formatCode>General</c:formatCode>
                <c:ptCount val="5"/>
                <c:pt idx="0">
                  <c:v>340.8083</c:v>
                </c:pt>
                <c:pt idx="2">
                  <c:v>277.0625</c:v>
                </c:pt>
                <c:pt idx="4">
                  <c:v>1207.336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O$2:$O$6</c:f>
              <c:numCache>
                <c:formatCode>General</c:formatCode>
                <c:ptCount val="5"/>
                <c:pt idx="0">
                  <c:v>95.1862</c:v>
                </c:pt>
                <c:pt idx="1">
                  <c:v>69.034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Others Marca Unif.</c:v>
                </c:pt>
              </c:strCache>
            </c:strRef>
          </c:cat>
          <c:val>
            <c:numRef>
              <c:f>Sheet1!$P$2:$P$6</c:f>
              <c:numCache>
                <c:formatCode>General</c:formatCode>
                <c:ptCount val="5"/>
                <c:pt idx="0">
                  <c:v>123.864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Mustela</c:v>
                </c:pt>
                <c:pt idx="2">
                  <c:v>Others Marca Unif.</c:v>
                </c:pt>
                <c:pt idx="3">
                  <c:v>Australian Gold</c:v>
                </c:pt>
              </c:strCache>
            </c:strRef>
          </c:cat>
          <c:val>
            <c:numRef>
              <c:f>Sheet1!$B$2:$B$5</c:f>
              <c:numCache>
                <c:formatCode>General</c:formatCode>
                <c:ptCount val="4"/>
                <c:pt idx="1">
                  <c:v>389.0948</c:v>
                </c:pt>
                <c:pt idx="2">
                  <c:v>213.4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Mustela</c:v>
                </c:pt>
                <c:pt idx="2">
                  <c:v>Others Marca Unif.</c:v>
                </c:pt>
                <c:pt idx="3">
                  <c:v>Australian Gold</c:v>
                </c:pt>
              </c:strCache>
            </c:strRef>
          </c:cat>
          <c:val>
            <c:numRef>
              <c:f>Sheet1!$C$2:$C$5</c:f>
              <c:numCache>
                <c:formatCode>General</c:formatCode>
                <c:ptCount val="4"/>
                <c:pt idx="0">
                  <c:v>390.45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Mustela</c:v>
                </c:pt>
                <c:pt idx="2">
                  <c:v>Others Marca Unif.</c:v>
                </c:pt>
                <c:pt idx="3">
                  <c:v>Australian Gold</c:v>
                </c:pt>
              </c:strCache>
            </c:strRef>
          </c:cat>
          <c:val>
            <c:numRef>
              <c:f>Sheet1!$D$2:$D$5</c:f>
              <c:numCache>
                <c:formatCode>General</c:formatCode>
                <c:ptCount val="4"/>
                <c:pt idx="2">
                  <c:v>430.7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Mustela</c:v>
                </c:pt>
                <c:pt idx="2">
                  <c:v>Others Marca Unif.</c:v>
                </c:pt>
                <c:pt idx="3">
                  <c:v>Australian Gold</c:v>
                </c:pt>
              </c:strCache>
            </c:strRef>
          </c:cat>
          <c:val>
            <c:numRef>
              <c:f>Sheet1!$E$2:$E$5</c:f>
              <c:numCache>
                <c:formatCode>General</c:formatCode>
                <c:ptCount val="4"/>
                <c:pt idx="0">
                  <c:v>304.74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Mustela</c:v>
                </c:pt>
                <c:pt idx="2">
                  <c:v>Others Marca Unif.</c:v>
                </c:pt>
                <c:pt idx="3">
                  <c:v>Australian Gold</c:v>
                </c:pt>
              </c:strCache>
            </c:strRef>
          </c:cat>
          <c:val>
            <c:numRef>
              <c:f>Sheet1!$F$2:$F$5</c:f>
              <c:numCache>
                <c:formatCode>General</c:formatCode>
                <c:ptCount val="4"/>
                <c:pt idx="2">
                  <c:v>351.5356</c:v>
                </c:pt>
                <c:pt idx="3">
                  <c:v>264.61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Mustela</c:v>
                </c:pt>
                <c:pt idx="2">
                  <c:v>Others Marca Unif.</c:v>
                </c:pt>
                <c:pt idx="3">
                  <c:v>Australian Gold</c:v>
                </c:pt>
              </c:strCache>
            </c:strRef>
          </c:cat>
          <c:val>
            <c:numRef>
              <c:f>Sheet1!$G$2:$G$5</c:f>
              <c:numCache>
                <c:formatCode>General</c:formatCode>
                <c:ptCount val="4"/>
                <c:pt idx="0">
                  <c:v>296.33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Mustela</c:v>
                </c:pt>
                <c:pt idx="2">
                  <c:v>Others Marca Unif.</c:v>
                </c:pt>
                <c:pt idx="3">
                  <c:v>Australian Gold</c:v>
                </c:pt>
              </c:strCache>
            </c:strRef>
          </c:cat>
          <c:val>
            <c:numRef>
              <c:f>Sheet1!$H$2:$H$5</c:f>
              <c:numCache>
                <c:formatCode>General</c:formatCode>
                <c:ptCount val="4"/>
                <c:pt idx="2">
                  <c:v>49.27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Mustela</c:v>
                </c:pt>
                <c:pt idx="2">
                  <c:v>Others Marca Unif.</c:v>
                </c:pt>
                <c:pt idx="3">
                  <c:v>Australian Gold</c:v>
                </c:pt>
              </c:strCache>
            </c:strRef>
          </c:cat>
          <c:val>
            <c:numRef>
              <c:f>Sheet1!$I$2:$I$5</c:f>
              <c:numCache>
                <c:formatCode>General</c:formatCode>
                <c:ptCount val="4"/>
                <c:pt idx="1">
                  <c:v>420.81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34.55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17.27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06.411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Mustela</c:v>
                </c:pt>
              </c:strCache>
            </c:strRef>
          </c:cat>
          <c:val>
            <c:numRef>
              <c:f>Sheet1!$B$2:$B$3</c:f>
              <c:numCache>
                <c:formatCode>General</c:formatCode>
                <c:ptCount val="2"/>
                <c:pt idx="0">
                  <c:v>341.73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Mustela</c:v>
                </c:pt>
              </c:strCache>
            </c:strRef>
          </c:cat>
          <c:val>
            <c:numRef>
              <c:f>Sheet1!$C$2:$C$3</c:f>
              <c:numCache>
                <c:formatCode>General</c:formatCode>
                <c:ptCount val="2"/>
                <c:pt idx="0">
                  <c:v>602.89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Mustela</c:v>
                </c:pt>
              </c:strCache>
            </c:strRef>
          </c:cat>
          <c:val>
            <c:numRef>
              <c:f>Sheet1!$D$2:$D$3</c:f>
              <c:numCache>
                <c:formatCode>General</c:formatCode>
                <c:ptCount val="2"/>
                <c:pt idx="0">
                  <c:v>260.88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Mustela</c:v>
                </c:pt>
              </c:strCache>
            </c:strRef>
          </c:cat>
          <c:val>
            <c:numRef>
              <c:f>Sheet1!$E$2:$E$3</c:f>
              <c:numCache>
                <c:formatCode>General</c:formatCode>
                <c:ptCount val="2"/>
                <c:pt idx="0">
                  <c:v>871.7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Mustela</c:v>
                </c:pt>
              </c:strCache>
            </c:strRef>
          </c:cat>
          <c:val>
            <c:numRef>
              <c:f>Sheet1!$F$2:$F$3</c:f>
              <c:numCache>
                <c:formatCode>General</c:formatCode>
                <c:ptCount val="2"/>
                <c:pt idx="1">
                  <c:v>221.387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Roche-Posay</c:v>
                </c:pt>
                <c:pt idx="1">
                  <c:v>Isdin</c:v>
                </c:pt>
                <c:pt idx="2">
                  <c:v>Heliocare</c:v>
                </c:pt>
                <c:pt idx="3">
                  <c:v>Vichy</c:v>
                </c:pt>
                <c:pt idx="4">
                  <c:v>Avene</c:v>
                </c:pt>
              </c:strCache>
            </c:strRef>
          </c:cat>
          <c:val>
            <c:numRef>
              <c:f>Sheet1!$B$2:$B$6</c:f>
              <c:numCache>
                <c:formatCode>General</c:formatCode>
                <c:ptCount val="5"/>
                <c:pt idx="0">
                  <c:v>868.6372</c:v>
                </c:pt>
                <c:pt idx="1">
                  <c:v>652.1141</c:v>
                </c:pt>
                <c:pt idx="2">
                  <c:v>698.2775</c:v>
                </c:pt>
                <c:pt idx="4">
                  <c:v>776.75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La Roche-Posay</c:v>
                </c:pt>
                <c:pt idx="1">
                  <c:v>Isdin</c:v>
                </c:pt>
                <c:pt idx="2">
                  <c:v>Heliocare</c:v>
                </c:pt>
                <c:pt idx="3">
                  <c:v>Vichy</c:v>
                </c:pt>
                <c:pt idx="4">
                  <c:v>Avene</c:v>
                </c:pt>
              </c:strCache>
            </c:strRef>
          </c:cat>
          <c:val>
            <c:numRef>
              <c:f>Sheet1!$C$2:$C$6</c:f>
              <c:numCache>
                <c:formatCode>General</c:formatCode>
                <c:ptCount val="5"/>
                <c:pt idx="3">
                  <c:v>756.61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Roche-Posay</c:v>
                </c:pt>
                <c:pt idx="1">
                  <c:v>Isdin</c:v>
                </c:pt>
                <c:pt idx="2">
                  <c:v>Heliocare</c:v>
                </c:pt>
                <c:pt idx="3">
                  <c:v>Vichy</c:v>
                </c:pt>
                <c:pt idx="4">
                  <c:v>Avene</c:v>
                </c:pt>
              </c:strCache>
            </c:strRef>
          </c:cat>
          <c:val>
            <c:numRef>
              <c:f>Sheet1!$D$2:$D$6</c:f>
              <c:numCache>
                <c:formatCode>General</c:formatCode>
                <c:ptCount val="5"/>
                <c:pt idx="0">
                  <c:v>544.582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dLblPos val="t"/>
              <c:showLegendKey val="0"/>
              <c:showVal val="1"/>
              <c:showCatName val="0"/>
              <c:showSerName val="0"/>
              <c:showPercent val="0"/>
              <c:showBubbleSize val="0"/>
            </c:dLbl>
            <c:dLbl>
              <c:idx val="1"/>
              <c:tx>
                <c:rich>
                  <a:bodyPr/>
                  <a:lstStyle/>
                  <a:p>
                    <a:r>
                      <a:t>327.07</a:t>
                    </a:r>
                  </a:p>
                </c:rich>
              </c:tx>
              <c:dLblPos val="t"/>
              <c:showLegendKey val="0"/>
              <c:showVal val="1"/>
              <c:showCatName val="0"/>
              <c:showSerName val="0"/>
              <c:showPercent val="0"/>
              <c:showBubbleSize val="0"/>
            </c:dLbl>
            <c:dLbl>
              <c:idx val="2"/>
              <c:tx>
                <c:rich>
                  <a:bodyPr/>
                  <a:lstStyle/>
                  <a:p>
                    <a:r>
                      <a:t>102.57</a:t>
                    </a:r>
                  </a:p>
                </c:rich>
              </c:tx>
              <c:dLblPos val="t"/>
              <c:showLegendKey val="0"/>
              <c:showVal val="1"/>
              <c:showCatName val="0"/>
              <c:showSerName val="0"/>
              <c:showPercent val="0"/>
              <c:showBubbleSize val="0"/>
            </c:dLbl>
            <c:dLbl>
              <c:idx val="3"/>
              <c:tx>
                <c:rich>
                  <a:bodyPr/>
                  <a:lstStyle/>
                  <a:p>
                    <a:r>
                      <a:t>311.77</a:t>
                    </a:r>
                  </a:p>
                </c:rich>
              </c:tx>
              <c:dLblPos val="t"/>
              <c:showLegendKey val="0"/>
              <c:showVal val="1"/>
              <c:showCatName val="0"/>
              <c:showSerName val="0"/>
              <c:showPercent val="0"/>
              <c:showBubbleSize val="0"/>
            </c:dLbl>
            <c:dLbl>
              <c:idx val="4"/>
              <c:tx>
                <c:rich>
                  <a:bodyPr/>
                  <a:lstStyle/>
                  <a:p>
                    <a:r>
                      <a:t>296.15</a:t>
                    </a:r>
                  </a:p>
                </c:rich>
              </c:tx>
              <c:dLblPos val="t"/>
              <c:showLegendKey val="0"/>
              <c:showVal val="1"/>
              <c:showCatName val="0"/>
              <c:showSerName val="0"/>
              <c:showPercent val="0"/>
              <c:showBubbleSize val="0"/>
            </c:dLbl>
            <c:dLbl>
              <c:idx val="5"/>
              <c:tx>
                <c:rich>
                  <a:bodyPr/>
                  <a:lstStyle/>
                  <a:p>
                    <a:r>
                      <a:t>190.97</a:t>
                    </a:r>
                  </a:p>
                </c:rich>
              </c:tx>
              <c:dLblPos val="t"/>
              <c:showLegendKey val="0"/>
              <c:showVal val="1"/>
              <c:showCatName val="0"/>
              <c:showSerName val="0"/>
              <c:showPercent val="0"/>
              <c:showBubbleSize val="0"/>
            </c:dLbl>
            <c:dLbl>
              <c:idx val="6"/>
              <c:tx>
                <c:rich>
                  <a:bodyPr/>
                  <a:lstStyle/>
                  <a:p>
                    <a:r>
                      <a:t>326.11</a:t>
                    </a:r>
                  </a:p>
                </c:rich>
              </c:tx>
              <c:dLblPos val="t"/>
              <c:showLegendKey val="0"/>
              <c:showVal val="1"/>
              <c:showCatName val="0"/>
              <c:showSerName val="0"/>
              <c:showPercent val="0"/>
              <c:showBubbleSize val="0"/>
            </c:dLbl>
            <c:dLbl>
              <c:idx val="7"/>
              <c:tx>
                <c:rich>
                  <a:bodyPr/>
                  <a:lstStyle/>
                  <a:p>
                    <a:r>
                      <a:t>299.54</a:t>
                    </a:r>
                  </a:p>
                </c:rich>
              </c:tx>
              <c:dLblPos val="t"/>
              <c:showLegendKey val="0"/>
              <c:showVal val="1"/>
              <c:showCatName val="0"/>
              <c:showSerName val="0"/>
              <c:showPercent val="0"/>
              <c:showBubbleSize val="0"/>
            </c:dLbl>
            <c:dLbl>
              <c:idx val="8"/>
              <c:tx>
                <c:rich>
                  <a:bodyPr/>
                  <a:lstStyle/>
                  <a:p>
                    <a:r>
                      <a:t>99.41</a:t>
                    </a:r>
                  </a:p>
                </c:rich>
              </c:tx>
              <c:dLblPos val="t"/>
              <c:showLegendKey val="0"/>
              <c:showVal val="1"/>
              <c:showCatName val="0"/>
              <c:showSerName val="0"/>
              <c:showPercent val="0"/>
              <c:showBubbleSize val="0"/>
            </c:dLbl>
            <c:dLbl>
              <c:idx val="9"/>
              <c:tx>
                <c:rich>
                  <a:bodyPr/>
                  <a:lstStyle/>
                  <a:p>
                    <a:r>
                      <a:t>305.74</a:t>
                    </a:r>
                  </a:p>
                </c:rich>
              </c:tx>
              <c:dLblPos val="t"/>
              <c:showLegendKey val="0"/>
              <c:showVal val="1"/>
              <c:showCatName val="0"/>
              <c:showSerName val="0"/>
              <c:showPercent val="0"/>
              <c:showBubbleSize val="0"/>
            </c:dLbl>
            <c:dLbl>
              <c:idx val="10"/>
              <c:tx>
                <c:rich>
                  <a:bodyPr/>
                  <a:lstStyle/>
                  <a:p>
                    <a:r>
                      <a:t>189.32</a:t>
                    </a:r>
                  </a:p>
                </c:rich>
              </c:tx>
              <c:dLblPos val="t"/>
              <c:showLegendKey val="0"/>
              <c:showVal val="1"/>
              <c:showCatName val="0"/>
              <c:showSerName val="0"/>
              <c:showPercent val="0"/>
              <c:showBubbleSize val="0"/>
            </c:dLbl>
            <c:dLbl>
              <c:idx val="11"/>
              <c:tx>
                <c:rich>
                  <a:bodyPr/>
                  <a:lstStyle/>
                  <a:p>
                    <a:r>
                      <a:t>301.33</a:t>
                    </a:r>
                  </a:p>
                </c:rich>
              </c:tx>
              <c:dLblPos val="t"/>
              <c:showLegendKey val="0"/>
              <c:showVal val="1"/>
              <c:showCatName val="0"/>
              <c:showSerName val="0"/>
              <c:showPercent val="0"/>
              <c:showBubbleSize val="0"/>
            </c:dLbl>
            <c:dLbl>
              <c:idx val="12"/>
              <c:tx>
                <c:rich>
                  <a:bodyPr/>
                  <a:lstStyle/>
                  <a:p>
                    <a:r>
                      <a:t>308.69</a:t>
                    </a:r>
                  </a:p>
                </c:rich>
              </c:tx>
              <c:dLblPos val="t"/>
              <c:showLegendKey val="0"/>
              <c:showVal val="1"/>
              <c:showCatName val="0"/>
              <c:showSerName val="0"/>
              <c:showPercent val="0"/>
              <c:showBubbleSize val="0"/>
            </c:dLbl>
            <c:dLbl>
              <c:idx val="13"/>
              <c:tx>
                <c:rich>
                  <a:bodyPr/>
                  <a:lstStyle/>
                  <a:p>
                    <a:r>
                      <a:t>334.03</a:t>
                    </a:r>
                  </a:p>
                </c:rich>
              </c:tx>
              <c:dLblPos val="t"/>
              <c:showLegendKey val="0"/>
              <c:showVal val="1"/>
              <c:showCatName val="0"/>
              <c:showSerName val="0"/>
              <c:showPercent val="0"/>
              <c:showBubbleSize val="0"/>
            </c:dLbl>
            <c:dLbl>
              <c:idx val="14"/>
              <c:tx>
                <c:rich>
                  <a:bodyPr/>
                  <a:lstStyle/>
                  <a:p>
                    <a:r>
                      <a:t>88.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Tanning Sunscreen Adults Cosmetics Spray Liquido 15 - 19 220Ml</c:v>
                </c:pt>
                <c:pt idx="5">
                  <c:v>Edgewell Hawaiian Tropic Ozono Sunscreen Adults Cosmetics Liquido 50+ 120Ml</c:v>
                </c:pt>
                <c:pt idx="6">
                  <c:v>Edgewell Hawaiian Tropic Silk Hydration Sunscreen Adults Cosmetics Spray Liquido 50+ 180Ml</c:v>
                </c:pt>
                <c:pt idx="7">
                  <c:v>Edgewell Hawaiian Tropic Ozono Sunscreen Adults Cosmetics Liquido 50+ 18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306.84</c:v>
                </c:pt>
                <c:pt idx="1">
                  <c:v>327.07</c:v>
                </c:pt>
                <c:pt idx="2">
                  <c:v>102.57</c:v>
                </c:pt>
                <c:pt idx="3">
                  <c:v>311.77</c:v>
                </c:pt>
                <c:pt idx="4">
                  <c:v>296.15</c:v>
                </c:pt>
                <c:pt idx="5">
                  <c:v>190.97</c:v>
                </c:pt>
                <c:pt idx="6">
                  <c:v>326.11</c:v>
                </c:pt>
                <c:pt idx="7">
                  <c:v>299.54</c:v>
                </c:pt>
                <c:pt idx="8">
                  <c:v>99.41</c:v>
                </c:pt>
                <c:pt idx="9">
                  <c:v>305.74</c:v>
                </c:pt>
                <c:pt idx="10">
                  <c:v>189.32</c:v>
                </c:pt>
                <c:pt idx="11">
                  <c:v>301.33</c:v>
                </c:pt>
                <c:pt idx="12">
                  <c:v>308.69</c:v>
                </c:pt>
                <c:pt idx="13">
                  <c:v>334.03</c:v>
                </c:pt>
                <c:pt idx="14">
                  <c:v>8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B$2:$B$10</c:f>
              <c:numCache>
                <c:formatCode>General</c:formatCode>
                <c:ptCount val="9"/>
                <c:pt idx="4">
                  <c:v>245.18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C$2:$C$10</c:f>
              <c:numCache>
                <c:formatCode>General</c:formatCode>
                <c:ptCount val="9"/>
                <c:pt idx="1">
                  <c:v>709.84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D$2:$D$10</c:f>
              <c:numCache>
                <c:formatCode>General</c:formatCode>
                <c:ptCount val="9"/>
                <c:pt idx="1">
                  <c:v>768.4314</c:v>
                </c:pt>
                <c:pt idx="3">
                  <c:v>768.9882</c:v>
                </c:pt>
                <c:pt idx="4">
                  <c:v>300.59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E$2:$E$10</c:f>
              <c:numCache>
                <c:formatCode>General</c:formatCode>
                <c:ptCount val="9"/>
                <c:pt idx="7">
                  <c:v>904.65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F$2:$F$10</c:f>
              <c:numCache>
                <c:formatCode>General</c:formatCode>
                <c:ptCount val="9"/>
                <c:pt idx="6">
                  <c:v>762.09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G$2:$G$10</c:f>
              <c:numCache>
                <c:formatCode>General</c:formatCode>
                <c:ptCount val="9"/>
                <c:pt idx="4">
                  <c:v>345.6995</c:v>
                </c:pt>
                <c:pt idx="6">
                  <c:v>741.0265</c:v>
                </c:pt>
                <c:pt idx="7">
                  <c:v>672.94</c:v>
                </c:pt>
                <c:pt idx="8">
                  <c:v>547.881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H$2:$H$10</c:f>
              <c:numCache>
                <c:formatCode>General</c:formatCode>
                <c:ptCount val="9"/>
                <c:pt idx="0">
                  <c:v>626.567</c:v>
                </c:pt>
                <c:pt idx="1">
                  <c:v>651.2513</c:v>
                </c:pt>
                <c:pt idx="2">
                  <c:v>673.2119</c:v>
                </c:pt>
                <c:pt idx="3">
                  <c:v>715.455</c:v>
                </c:pt>
                <c:pt idx="5">
                  <c:v>627.551</c:v>
                </c:pt>
                <c:pt idx="7">
                  <c:v>749.45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Avene</c:v>
                </c:pt>
                <c:pt idx="2">
                  <c:v>La Roche-Posay</c:v>
                </c:pt>
                <c:pt idx="3">
                  <c:v>Eucerin</c:v>
                </c:pt>
                <c:pt idx="4">
                  <c:v>Neutrogena</c:v>
                </c:pt>
                <c:pt idx="5">
                  <c:v>Heliocare</c:v>
                </c:pt>
                <c:pt idx="6">
                  <c:v>Photoderm</c:v>
                </c:pt>
                <c:pt idx="7">
                  <c:v>Vichy</c:v>
                </c:pt>
                <c:pt idx="8">
                  <c:v>Others Marca Unif.</c:v>
                </c:pt>
              </c:strCache>
            </c:strRef>
          </c:cat>
          <c:val>
            <c:numRef>
              <c:f>Sheet1!$I$2:$I$10</c:f>
              <c:numCache>
                <c:formatCode>General</c:formatCode>
                <c:ptCount val="9"/>
                <c:pt idx="8">
                  <c:v>169.353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B$2:$B$8</c:f>
              <c:numCache>
                <c:formatCode>General</c:formatCode>
                <c:ptCount val="7"/>
                <c:pt idx="2">
                  <c:v>787.5763</c:v>
                </c:pt>
                <c:pt idx="5">
                  <c:v>703.9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a Roche-Posay</c:v>
                </c:pt>
                <c:pt idx="1">
                  <c:v>Isdin</c:v>
                </c:pt>
                <c:pt idx="2">
                  <c:v>Avene</c:v>
                </c:pt>
                <c:pt idx="3">
                  <c:v>Heliocare</c:v>
                </c:pt>
                <c:pt idx="4">
                  <c:v>Eucerin</c:v>
                </c:pt>
                <c:pt idx="5">
                  <c:v>Photoderm</c:v>
                </c:pt>
                <c:pt idx="6">
                  <c:v>All Others</c:v>
                </c:pt>
              </c:strCache>
            </c:strRef>
          </c:cat>
          <c:val>
            <c:numRef>
              <c:f>Sheet1!$C$2:$C$8</c:f>
              <c:numCache>
                <c:formatCode>General</c:formatCode>
                <c:ptCount val="7"/>
                <c:pt idx="0">
                  <c:v>629.3924</c:v>
                </c:pt>
                <c:pt idx="1">
                  <c:v>646.772</c:v>
                </c:pt>
                <c:pt idx="2">
                  <c:v>764.8857</c:v>
                </c:pt>
                <c:pt idx="3">
                  <c:v>639.439</c:v>
                </c:pt>
                <c:pt idx="4">
                  <c:v>619.7136</c:v>
                </c:pt>
                <c:pt idx="6">
                  <c:v>612.806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B$2:$B$8</c:f>
              <c:numCache>
                <c:formatCode>General</c:formatCode>
                <c:ptCount val="7"/>
                <c:pt idx="3">
                  <c:v>958.4326</c:v>
                </c:pt>
                <c:pt idx="6">
                  <c:v>523.94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C$2:$C$8</c:f>
              <c:numCache>
                <c:formatCode>General</c:formatCode>
                <c:ptCount val="7"/>
                <c:pt idx="0">
                  <c:v>643.23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D$2:$D$8</c:f>
              <c:numCache>
                <c:formatCode>General</c:formatCode>
                <c:ptCount val="7"/>
                <c:pt idx="4">
                  <c:v>786.29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E$2:$E$8</c:f>
              <c:numCache>
                <c:formatCode>General</c:formatCode>
                <c:ptCount val="7"/>
                <c:pt idx="0">
                  <c:v>509.2075</c:v>
                </c:pt>
                <c:pt idx="1">
                  <c:v>648.1964</c:v>
                </c:pt>
                <c:pt idx="2">
                  <c:v>586.3068</c:v>
                </c:pt>
                <c:pt idx="3">
                  <c:v>628.58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Eucerin</c:v>
                </c:pt>
                <c:pt idx="2">
                  <c:v>La Roche-Posay</c:v>
                </c:pt>
                <c:pt idx="3">
                  <c:v>Heliocare</c:v>
                </c:pt>
                <c:pt idx="4">
                  <c:v>Photoderm</c:v>
                </c:pt>
                <c:pt idx="5">
                  <c:v>Others Marca Unif.</c:v>
                </c:pt>
                <c:pt idx="6">
                  <c:v>Cetaphil</c:v>
                </c:pt>
              </c:strCache>
            </c:strRef>
          </c:cat>
          <c:val>
            <c:numRef>
              <c:f>Sheet1!$F$2:$F$8</c:f>
              <c:numCache>
                <c:formatCode>General</c:formatCode>
                <c:ptCount val="7"/>
                <c:pt idx="5">
                  <c:v>615.462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62.84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831.80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9.485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B$2:$B$10</c:f>
              <c:numCache>
                <c:formatCode>General</c:formatCode>
                <c:ptCount val="9"/>
                <c:pt idx="1">
                  <c:v>625.1367</c:v>
                </c:pt>
                <c:pt idx="4">
                  <c:v>530.957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C$2:$C$10</c:f>
              <c:numCache>
                <c:formatCode>General</c:formatCode>
                <c:ptCount val="9"/>
                <c:pt idx="0">
                  <c:v>678.895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D$2:$D$10</c:f>
              <c:numCache>
                <c:formatCode>General</c:formatCode>
                <c:ptCount val="9"/>
                <c:pt idx="4">
                  <c:v>520.6644</c:v>
                </c:pt>
                <c:pt idx="6">
                  <c:v>752.68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E$2:$E$10</c:f>
              <c:numCache>
                <c:formatCode>General</c:formatCode>
                <c:ptCount val="9"/>
                <c:pt idx="0">
                  <c:v>637.5658</c:v>
                </c:pt>
                <c:pt idx="6">
                  <c:v>825.4239</c:v>
                </c:pt>
                <c:pt idx="7">
                  <c:v>885.4998</c:v>
                </c:pt>
                <c:pt idx="8">
                  <c:v>804.94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F$2:$F$10</c:f>
              <c:numCache>
                <c:formatCode>General</c:formatCode>
                <c:ptCount val="9"/>
                <c:pt idx="2">
                  <c:v>1301.0479</c:v>
                </c:pt>
                <c:pt idx="3">
                  <c:v>614.75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G$2:$G$10</c:f>
              <c:numCache>
                <c:formatCode>General</c:formatCode>
                <c:ptCount val="9"/>
                <c:pt idx="5">
                  <c:v>231.50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H$2:$H$10</c:f>
              <c:numCache>
                <c:formatCode>General</c:formatCode>
                <c:ptCount val="9"/>
                <c:pt idx="0">
                  <c:v>652.6004</c:v>
                </c:pt>
                <c:pt idx="1">
                  <c:v>665.4957</c:v>
                </c:pt>
                <c:pt idx="2">
                  <c:v>709.813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Others Marca Unif.</c:v>
                </c:pt>
                <c:pt idx="1">
                  <c:v>Isdin</c:v>
                </c:pt>
                <c:pt idx="2">
                  <c:v>La Roche-Posay</c:v>
                </c:pt>
                <c:pt idx="3">
                  <c:v>Avene</c:v>
                </c:pt>
                <c:pt idx="4">
                  <c:v>Cetaphil</c:v>
                </c:pt>
                <c:pt idx="5">
                  <c:v>Loreal Paris</c:v>
                </c:pt>
                <c:pt idx="6">
                  <c:v>Eucerin</c:v>
                </c:pt>
                <c:pt idx="7">
                  <c:v>Photoderm</c:v>
                </c:pt>
                <c:pt idx="8">
                  <c:v>Vichy</c:v>
                </c:pt>
              </c:strCache>
            </c:strRef>
          </c:cat>
          <c:val>
            <c:numRef>
              <c:f>Sheet1!$I$2:$I$10</c:f>
              <c:numCache>
                <c:formatCode>General</c:formatCode>
                <c:ptCount val="9"/>
                <c:pt idx="2">
                  <c:v>636.911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Eclipsol</c:v>
                </c:pt>
                <c:pt idx="2">
                  <c:v>La Roche-Posay</c:v>
                </c:pt>
              </c:strCache>
            </c:strRef>
          </c:cat>
          <c:val>
            <c:numRef>
              <c:f>Sheet1!$B$2:$B$4</c:f>
              <c:numCache>
                <c:formatCode>General</c:formatCode>
                <c:ptCount val="3"/>
                <c:pt idx="1">
                  <c:v>855.62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Eclipsol</c:v>
                </c:pt>
                <c:pt idx="2">
                  <c:v>La Roche-Posay</c:v>
                </c:pt>
              </c:strCache>
            </c:strRef>
          </c:cat>
          <c:val>
            <c:numRef>
              <c:f>Sheet1!$C$2:$C$4</c:f>
              <c:numCache>
                <c:formatCode>General</c:formatCode>
                <c:ptCount val="3"/>
                <c:pt idx="0">
                  <c:v>633.0975</c:v>
                </c:pt>
                <c:pt idx="2">
                  <c:v>797.49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Eclipsol</c:v>
                </c:pt>
                <c:pt idx="2">
                  <c:v>La Roche-Posay</c:v>
                </c:pt>
              </c:strCache>
            </c:strRef>
          </c:cat>
          <c:val>
            <c:numRef>
              <c:f>Sheet1!$D$2:$D$4</c:f>
              <c:numCache>
                <c:formatCode>General</c:formatCode>
                <c:ptCount val="3"/>
                <c:pt idx="0">
                  <c:v>657.27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Eclipsol</c:v>
                </c:pt>
                <c:pt idx="2">
                  <c:v>La Roche-Posay</c:v>
                </c:pt>
              </c:strCache>
            </c:strRef>
          </c:cat>
          <c:val>
            <c:numRef>
              <c:f>Sheet1!$E$2:$E$4</c:f>
              <c:numCache>
                <c:formatCode>General</c:formatCode>
                <c:ptCount val="3"/>
                <c:pt idx="1">
                  <c:v>316.25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Eclipsol</c:v>
                </c:pt>
                <c:pt idx="2">
                  <c:v>La Roche-Posay</c:v>
                </c:pt>
              </c:strCache>
            </c:strRef>
          </c:cat>
          <c:val>
            <c:numRef>
              <c:f>Sheet1!$F$2:$F$4</c:f>
              <c:numCache>
                <c:formatCode>General</c:formatCode>
                <c:ptCount val="3"/>
                <c:pt idx="2">
                  <c:v>586.41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Photoderm</c:v>
                </c:pt>
                <c:pt idx="1">
                  <c:v>La Roche-Posay</c:v>
                </c:pt>
                <c:pt idx="2">
                  <c:v>Genove</c:v>
                </c:pt>
              </c:strCache>
            </c:strRef>
          </c:cat>
          <c:val>
            <c:numRef>
              <c:f>Sheet1!$B$2:$B$4</c:f>
              <c:numCache>
                <c:formatCode>General</c:formatCode>
                <c:ptCount val="3"/>
                <c:pt idx="2">
                  <c:v>631.07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C$2:$C$4</c:f>
              <c:numCache>
                <c:formatCode>General</c:formatCode>
                <c:ptCount val="3"/>
                <c:pt idx="0">
                  <c:v>779.0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D$2:$D$4</c:f>
              <c:numCache>
                <c:formatCode>General</c:formatCode>
                <c:ptCount val="3"/>
                <c:pt idx="0">
                  <c:v>893.7877</c:v>
                </c:pt>
                <c:pt idx="1">
                  <c:v>1110.23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E$2:$E$4</c:f>
              <c:numCache>
                <c:formatCode>General</c:formatCode>
                <c:ptCount val="3"/>
                <c:pt idx="0">
                  <c:v>731.0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F$2:$F$4</c:f>
              <c:numCache>
                <c:formatCode>General</c:formatCode>
                <c:ptCount val="3"/>
                <c:pt idx="0">
                  <c:v>1201.728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489.365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All Others</c:v>
                </c:pt>
                <c:pt idx="3">
                  <c:v>Others Marca Unif.</c:v>
                </c:pt>
              </c:strCache>
            </c:strRef>
          </c:cat>
          <c:val>
            <c:numRef>
              <c:f>Sheet1!$B$2:$B$5</c:f>
              <c:numCache>
                <c:formatCode>General</c:formatCode>
                <c:ptCount val="4"/>
                <c:pt idx="1">
                  <c:v>84.54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All Others</c:v>
                </c:pt>
                <c:pt idx="3">
                  <c:v>Others Marca Unif.</c:v>
                </c:pt>
              </c:strCache>
            </c:strRef>
          </c:cat>
          <c:val>
            <c:numRef>
              <c:f>Sheet1!$C$2:$C$5</c:f>
              <c:numCache>
                <c:formatCode>General</c:formatCode>
                <c:ptCount val="4"/>
                <c:pt idx="3">
                  <c:v>358.57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All Others</c:v>
                </c:pt>
                <c:pt idx="3">
                  <c:v>Others Marca Unif.</c:v>
                </c:pt>
              </c:strCache>
            </c:strRef>
          </c:cat>
          <c:val>
            <c:numRef>
              <c:f>Sheet1!$D$2:$D$5</c:f>
              <c:numCache>
                <c:formatCode>General</c:formatCode>
                <c:ptCount val="4"/>
                <c:pt idx="0">
                  <c:v>353.73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Caribbean Beach</c:v>
                </c:pt>
                <c:pt idx="2">
                  <c:v>All Others</c:v>
                </c:pt>
                <c:pt idx="3">
                  <c:v>Others Marca Unif.</c:v>
                </c:pt>
              </c:strCache>
            </c:strRef>
          </c:cat>
          <c:val>
            <c:numRef>
              <c:f>Sheet1!$E$2:$E$5</c:f>
              <c:numCache>
                <c:formatCode>General</c:formatCode>
                <c:ptCount val="4"/>
                <c:pt idx="2">
                  <c:v>1097.71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6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Caribbean Beach</c:v>
                </c:pt>
                <c:pt idx="2">
                  <c:v>All Others</c:v>
                </c:pt>
                <c:pt idx="3">
                  <c:v>Others Marca Unif.</c:v>
                </c:pt>
              </c:strCache>
            </c:strRef>
          </c:cat>
          <c:val>
            <c:numRef>
              <c:f>Sheet1!$F$2:$F$5</c:f>
              <c:numCache>
                <c:formatCode>General</c:formatCode>
                <c:ptCount val="4"/>
                <c:pt idx="0">
                  <c:v>286.1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Caribbean Beach</c:v>
                </c:pt>
                <c:pt idx="2">
                  <c:v>All Others</c:v>
                </c:pt>
                <c:pt idx="3">
                  <c:v>Others Marca Unif.</c:v>
                </c:pt>
              </c:strCache>
            </c:strRef>
          </c:cat>
          <c:val>
            <c:numRef>
              <c:f>Sheet1!$G$2:$G$5</c:f>
              <c:numCache>
                <c:formatCode>General</c:formatCode>
                <c:ptCount val="4"/>
                <c:pt idx="2">
                  <c:v>709.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dLblPos val="t"/>
              <c:showLegendKey val="0"/>
              <c:showVal val="1"/>
              <c:showCatName val="0"/>
              <c:showSerName val="0"/>
              <c:showPercent val="0"/>
              <c:showBubbleSize val="0"/>
            </c:dLbl>
            <c:dLbl>
              <c:idx val="1"/>
              <c:tx>
                <c:rich>
                  <a:bodyPr/>
                  <a:lstStyle/>
                  <a:p>
                    <a:r>
                      <a:t>325.31</a:t>
                    </a:r>
                  </a:p>
                </c:rich>
              </c:tx>
              <c:dLblPos val="t"/>
              <c:showLegendKey val="0"/>
              <c:showVal val="1"/>
              <c:showCatName val="0"/>
              <c:showSerName val="0"/>
              <c:showPercent val="0"/>
              <c:showBubbleSize val="0"/>
            </c:dLbl>
            <c:dLbl>
              <c:idx val="2"/>
              <c:tx>
                <c:rich>
                  <a:bodyPr/>
                  <a:lstStyle/>
                  <a:p>
                    <a:r>
                      <a:t>313.71</a:t>
                    </a:r>
                  </a:p>
                </c:rich>
              </c:tx>
              <c:dLblPos val="t"/>
              <c:showLegendKey val="0"/>
              <c:showVal val="1"/>
              <c:showCatName val="0"/>
              <c:showSerName val="0"/>
              <c:showPercent val="0"/>
              <c:showBubbleSize val="0"/>
            </c:dLbl>
            <c:dLbl>
              <c:idx val="3"/>
              <c:tx>
                <c:rich>
                  <a:bodyPr/>
                  <a:lstStyle/>
                  <a:p>
                    <a:r>
                      <a:t>97.58</a:t>
                    </a:r>
                  </a:p>
                </c:rich>
              </c:tx>
              <c:dLblPos val="t"/>
              <c:showLegendKey val="0"/>
              <c:showVal val="1"/>
              <c:showCatName val="0"/>
              <c:showSerName val="0"/>
              <c:showPercent val="0"/>
              <c:showBubbleSize val="0"/>
            </c:dLbl>
            <c:dLbl>
              <c:idx val="4"/>
              <c:tx>
                <c:rich>
                  <a:bodyPr/>
                  <a:lstStyle/>
                  <a:p>
                    <a:r>
                      <a:t>397.68</a:t>
                    </a:r>
                  </a:p>
                </c:rich>
              </c:tx>
              <c:dLblPos val="t"/>
              <c:showLegendKey val="0"/>
              <c:showVal val="1"/>
              <c:showCatName val="0"/>
              <c:showSerName val="0"/>
              <c:showPercent val="0"/>
              <c:showBubbleSize val="0"/>
            </c:dLbl>
            <c:dLbl>
              <c:idx val="5"/>
              <c:tx>
                <c:rich>
                  <a:bodyPr/>
                  <a:lstStyle/>
                  <a:p>
                    <a:r>
                      <a:t>252.72</a:t>
                    </a:r>
                  </a:p>
                </c:rich>
              </c:tx>
              <c:dLblPos val="t"/>
              <c:showLegendKey val="0"/>
              <c:showVal val="1"/>
              <c:showCatName val="0"/>
              <c:showSerName val="0"/>
              <c:showPercent val="0"/>
              <c:showBubbleSize val="0"/>
            </c:dLbl>
            <c:dLbl>
              <c:idx val="6"/>
              <c:tx>
                <c:rich>
                  <a:bodyPr/>
                  <a:lstStyle/>
                  <a:p>
                    <a:r>
                      <a:t>273.42</a:t>
                    </a:r>
                  </a:p>
                </c:rich>
              </c:tx>
              <c:dLblPos val="t"/>
              <c:showLegendKey val="0"/>
              <c:showVal val="1"/>
              <c:showCatName val="0"/>
              <c:showSerName val="0"/>
              <c:showPercent val="0"/>
              <c:showBubbleSize val="0"/>
            </c:dLbl>
            <c:dLbl>
              <c:idx val="7"/>
              <c:tx>
                <c:rich>
                  <a:bodyPr/>
                  <a:lstStyle/>
                  <a:p>
                    <a:r>
                      <a:t>272.33</a:t>
                    </a:r>
                  </a:p>
                </c:rich>
              </c:tx>
              <c:dLblPos val="t"/>
              <c:showLegendKey val="0"/>
              <c:showVal val="1"/>
              <c:showCatName val="0"/>
              <c:showSerName val="0"/>
              <c:showPercent val="0"/>
              <c:showBubbleSize val="0"/>
            </c:dLbl>
            <c:dLbl>
              <c:idx val="8"/>
              <c:tx>
                <c:rich>
                  <a:bodyPr/>
                  <a:lstStyle/>
                  <a:p>
                    <a:r>
                      <a:t>310.55</a:t>
                    </a:r>
                  </a:p>
                </c:rich>
              </c:tx>
              <c:dLblPos val="t"/>
              <c:showLegendKey val="0"/>
              <c:showVal val="1"/>
              <c:showCatName val="0"/>
              <c:showSerName val="0"/>
              <c:showPercent val="0"/>
              <c:showBubbleSize val="0"/>
            </c:dLbl>
            <c:dLbl>
              <c:idx val="9"/>
              <c:tx>
                <c:rich>
                  <a:bodyPr/>
                  <a:lstStyle/>
                  <a:p>
                    <a:r>
                      <a:t>129.57</a:t>
                    </a:r>
                  </a:p>
                </c:rich>
              </c:tx>
              <c:dLblPos val="t"/>
              <c:showLegendKey val="0"/>
              <c:showVal val="1"/>
              <c:showCatName val="0"/>
              <c:showSerName val="0"/>
              <c:showPercent val="0"/>
              <c:showBubbleSize val="0"/>
            </c:dLbl>
            <c:dLbl>
              <c:idx val="10"/>
              <c:tx>
                <c:rich>
                  <a:bodyPr/>
                  <a:lstStyle/>
                  <a:p>
                    <a:r>
                      <a:t>305.33</a:t>
                    </a:r>
                  </a:p>
                </c:rich>
              </c:tx>
              <c:dLblPos val="t"/>
              <c:showLegendKey val="0"/>
              <c:showVal val="1"/>
              <c:showCatName val="0"/>
              <c:showSerName val="0"/>
              <c:showPercent val="0"/>
              <c:showBubbleSize val="0"/>
            </c:dLbl>
            <c:dLbl>
              <c:idx val="11"/>
              <c:tx>
                <c:rich>
                  <a:bodyPr/>
                  <a:lstStyle/>
                  <a:p>
                    <a:r>
                      <a:t>185.51</a:t>
                    </a:r>
                  </a:p>
                </c:rich>
              </c:tx>
              <c:dLblPos val="t"/>
              <c:showLegendKey val="0"/>
              <c:showVal val="1"/>
              <c:showCatName val="0"/>
              <c:showSerName val="0"/>
              <c:showPercent val="0"/>
              <c:showBubbleSize val="0"/>
            </c:dLbl>
            <c:dLbl>
              <c:idx val="12"/>
              <c:tx>
                <c:rich>
                  <a:bodyPr/>
                  <a:lstStyle/>
                  <a:p>
                    <a:r>
                      <a:t>347.12</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80.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Tanning Sunscreen Adults Cosmetics Spray Liquido 15 - 19 220Ml</c:v>
                </c:pt>
                <c:pt idx="3">
                  <c:v>Edgewell Hawaiian Tropic Sheer Touch Sunscreen Adults Cosmetics Liquido 30 - 49 60Ml</c:v>
                </c:pt>
                <c:pt idx="4">
                  <c:v>Edgewell Hawaiian Tropic Silk Hydration Sunscreen Adults Cosmetics Liquido 50 180Ml</c:v>
                </c:pt>
                <c:pt idx="5">
                  <c:v>Edgewell Hawaiian Tropic Carrot Sunscreen Adults Cosmetics Spray Liquido 30 - 49 177Ml</c:v>
                </c:pt>
                <c:pt idx="6">
                  <c:v>Edgewell Hawaiian Tropic Silk Hydration Sunscreen Adults Cosmetics Spray Liquido 50+ 180Ml</c:v>
                </c:pt>
                <c:pt idx="7">
                  <c:v>Edgewell Hawaiian Tropic Silk Hydration Sunscreen Adults Cosmetics Spray Liquido 50 150Ml</c:v>
                </c:pt>
                <c:pt idx="8">
                  <c:v>Edgewell Hawaiian Tropic Ozono Sunscreen Adults Cosmetics Liquido 50+ 180Ml</c:v>
                </c:pt>
                <c:pt idx="9">
                  <c:v>Edgewell Hawaiian Tropic Ozono Sunscreen Adults Cosmetics Liquido 50+ 90Ml</c:v>
                </c:pt>
                <c:pt idx="10">
                  <c:v>Edgewell Hawaiian Tropic Other Sunscreen Adults Cosmetics Crema 50+ 240Ml</c:v>
                </c:pt>
                <c:pt idx="11">
                  <c:v>Edgewell Hawaiian Tropic Sheer Touch Sunscreen Adults Cosmetics Crema 50 120Ml</c:v>
                </c:pt>
                <c:pt idx="12">
                  <c:v>Edgewell Hawaiian Tropic Island Sport Sunscreen Adults Sport Spray Liquido 50 220Ml</c:v>
                </c:pt>
                <c:pt idx="13">
                  <c:v>Edgewell Hawaiian Tropic Island Sport Sunscreen Adults Sport Liquido 50 240Ml</c:v>
                </c:pt>
                <c:pt idx="14">
                  <c:v>Edgewell Hawaiian Tropic Island Sport Sunscreen Adults Sport Liquido 50 60Ml</c:v>
                </c:pt>
              </c:strCache>
            </c:strRef>
          </c:cat>
          <c:val>
            <c:numRef>
              <c:f>Sheet1!$B$2:$B$16</c:f>
              <c:numCache>
                <c:formatCode>General</c:formatCode>
                <c:ptCount val="15"/>
                <c:pt idx="0">
                  <c:v>318.53</c:v>
                </c:pt>
                <c:pt idx="1">
                  <c:v>325.31</c:v>
                </c:pt>
                <c:pt idx="2">
                  <c:v>313.71</c:v>
                </c:pt>
                <c:pt idx="3">
                  <c:v>97.58</c:v>
                </c:pt>
                <c:pt idx="4">
                  <c:v>397.68</c:v>
                </c:pt>
                <c:pt idx="5">
                  <c:v>252.72</c:v>
                </c:pt>
                <c:pt idx="6">
                  <c:v>273.42</c:v>
                </c:pt>
                <c:pt idx="7">
                  <c:v>272.33</c:v>
                </c:pt>
                <c:pt idx="8">
                  <c:v>310.55</c:v>
                </c:pt>
                <c:pt idx="9">
                  <c:v>129.57</c:v>
                </c:pt>
                <c:pt idx="10">
                  <c:v>305.33</c:v>
                </c:pt>
                <c:pt idx="11">
                  <c:v>185.51</c:v>
                </c:pt>
                <c:pt idx="12">
                  <c:v>347.12</c:v>
                </c:pt>
                <c:pt idx="13">
                  <c:v>330.0</c:v>
                </c:pt>
                <c:pt idx="14">
                  <c:v>80.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8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waiian Tropic</c:v>
                </c:pt>
                <c:pt idx="1">
                  <c:v>Banana Boat</c:v>
                </c:pt>
                <c:pt idx="2">
                  <c:v>Australian Gold</c:v>
                </c:pt>
              </c:strCache>
            </c:strRef>
          </c:cat>
          <c:val>
            <c:numRef>
              <c:f>Sheet1!$B$2:$B$4</c:f>
              <c:numCache>
                <c:formatCode>General</c:formatCode>
                <c:ptCount val="3"/>
                <c:pt idx="1">
                  <c:v>188.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Hawaiian Tropic</c:v>
                </c:pt>
                <c:pt idx="1">
                  <c:v>Banana Boat</c:v>
                </c:pt>
                <c:pt idx="2">
                  <c:v>Australian Gold</c:v>
                </c:pt>
              </c:strCache>
            </c:strRef>
          </c:cat>
          <c:val>
            <c:numRef>
              <c:f>Sheet1!$C$2:$C$4</c:f>
              <c:numCache>
                <c:formatCode>General</c:formatCode>
                <c:ptCount val="3"/>
                <c:pt idx="1">
                  <c:v>329.83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Banana Boat</c:v>
                </c:pt>
                <c:pt idx="2">
                  <c:v>Australian Gold</c:v>
                </c:pt>
              </c:strCache>
            </c:strRef>
          </c:cat>
          <c:val>
            <c:numRef>
              <c:f>Sheet1!$D$2:$D$4</c:f>
              <c:numCache>
                <c:formatCode>General</c:formatCode>
                <c:ptCount val="3"/>
                <c:pt idx="1">
                  <c:v>324.2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Banana Boat</c:v>
                </c:pt>
                <c:pt idx="2">
                  <c:v>Australian Gold</c:v>
                </c:pt>
              </c:strCache>
            </c:strRef>
          </c:cat>
          <c:val>
            <c:numRef>
              <c:f>Sheet1!$E$2:$E$4</c:f>
              <c:numCache>
                <c:formatCode>General</c:formatCode>
                <c:ptCount val="3"/>
                <c:pt idx="2">
                  <c:v>248.091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Hawaiian Tropic</c:v>
                </c:pt>
                <c:pt idx="1">
                  <c:v>Banana Boat</c:v>
                </c:pt>
                <c:pt idx="2">
                  <c:v>Australian Gold</c:v>
                </c:pt>
              </c:strCache>
            </c:strRef>
          </c:cat>
          <c:val>
            <c:numRef>
              <c:f>Sheet1!$F$2:$F$4</c:f>
              <c:numCache>
                <c:formatCode>General</c:formatCode>
                <c:ptCount val="3"/>
                <c:pt idx="0">
                  <c:v>302.5802</c:v>
                </c:pt>
                <c:pt idx="1">
                  <c:v>323.09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waiian Tropic</c:v>
                </c:pt>
                <c:pt idx="1">
                  <c:v>Banana Boat</c:v>
                </c:pt>
                <c:pt idx="2">
                  <c:v>Australian Gold</c:v>
                </c:pt>
              </c:strCache>
            </c:strRef>
          </c:cat>
          <c:val>
            <c:numRef>
              <c:f>Sheet1!$G$2:$G$4</c:f>
              <c:numCache>
                <c:formatCode>General</c:formatCode>
                <c:ptCount val="3"/>
                <c:pt idx="0">
                  <c:v>316.00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waiian Tropic</c:v>
                </c:pt>
                <c:pt idx="1">
                  <c:v>Banana Boat</c:v>
                </c:pt>
                <c:pt idx="2">
                  <c:v>Australian Gold</c:v>
                </c:pt>
              </c:strCache>
            </c:strRef>
          </c:cat>
          <c:val>
            <c:numRef>
              <c:f>Sheet1!$H$2:$H$4</c:f>
              <c:numCache>
                <c:formatCode>General</c:formatCode>
                <c:ptCount val="3"/>
                <c:pt idx="0">
                  <c:v>59.958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0">
                  <c:v>360.81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0">
                  <c:v>314.97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1">
                  <c:v>296.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0">
                  <c:v>69.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68.09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eliocare</c:v>
                </c:pt>
              </c:strCache>
            </c:strRef>
          </c:cat>
          <c:val>
            <c:numRef>
              <c:f>Sheet1!$B$2:$B$2</c:f>
              <c:numCache>
                <c:formatCode>General</c:formatCode>
                <c:ptCount val="1"/>
                <c:pt idx="0">
                  <c:v>555.083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B$2:$B$9</c:f>
              <c:numCache>
                <c:formatCode>General</c:formatCode>
                <c:ptCount val="8"/>
                <c:pt idx="2">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C$2:$C$9</c:f>
              <c:numCache>
                <c:formatCode>General</c:formatCode>
                <c:ptCount val="8"/>
                <c:pt idx="1">
                  <c:v>156.2336</c:v>
                </c:pt>
                <c:pt idx="4">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D$2:$D$9</c:f>
              <c:numCache>
                <c:formatCode>General</c:formatCode>
                <c:ptCount val="8"/>
                <c:pt idx="2">
                  <c:v>130.83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E$2:$E$11</c:f>
              <c:numCache>
                <c:formatCode>General</c:formatCode>
                <c:ptCount val="10"/>
                <c:pt idx="5">
                  <c:v>98.26</c:v>
                </c:pt>
                <c:pt idx="6">
                  <c:v>57.9171</c:v>
                </c:pt>
                <c:pt idx="7">
                  <c:v>57.9171</c:v>
                </c:pt>
                <c:pt idx="8">
                  <c:v>57.9171</c:v>
                </c:pt>
                <c:pt idx="9">
                  <c:v>57.9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F$2:$F$9</c:f>
              <c:numCache>
                <c:formatCode>General</c:formatCode>
                <c:ptCount val="8"/>
                <c:pt idx="3">
                  <c:v>268.17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G$2:$G$9</c:f>
              <c:numCache>
                <c:formatCode>General</c:formatCode>
                <c:ptCount val="8"/>
                <c:pt idx="0">
                  <c:v>239.5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H$2:$H$9</c:f>
              <c:numCache>
                <c:formatCode>General</c:formatCode>
                <c:ptCount val="8"/>
                <c:pt idx="1">
                  <c:v>226.76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I$2:$I$9</c:f>
              <c:numCache>
                <c:formatCode>General</c:formatCode>
                <c:ptCount val="8"/>
                <c:pt idx="5">
                  <c:v>161.052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J$2:$J$9</c:f>
              <c:numCache>
                <c:formatCode>General</c:formatCode>
                <c:ptCount val="8"/>
                <c:pt idx="3">
                  <c:v>254.46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K$2:$K$9</c:f>
              <c:numCache>
                <c:formatCode>General</c:formatCode>
                <c:ptCount val="8"/>
                <c:pt idx="2">
                  <c:v>93.1024</c:v>
                </c:pt>
                <c:pt idx="3">
                  <c:v>231.357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L$2:$L$9</c:f>
              <c:numCache>
                <c:formatCode>General</c:formatCode>
                <c:ptCount val="8"/>
                <c:pt idx="2">
                  <c:v>40.7148</c:v>
                </c:pt>
                <c:pt idx="5">
                  <c:v>47.493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Others Marca Unif.</c:v>
                </c:pt>
                <c:pt idx="3">
                  <c:v>Nivea</c:v>
                </c:pt>
                <c:pt idx="4">
                  <c:v>Nuvel</c:v>
                </c:pt>
                <c:pt idx="5">
                  <c:v>Caribbean Beach</c:v>
                </c:pt>
                <c:pt idx="6">
                  <c:v>Total Care De Mexico: All Others</c:v>
                </c:pt>
              </c:strCache>
            </c:strRef>
          </c:cat>
          <c:val>
            <c:numRef>
              <c:f>Sheet1!$M$2:$M$9</c:f>
              <c:numCache>
                <c:formatCode>General</c:formatCode>
                <c:ptCount val="8"/>
                <c:pt idx="2">
                  <c:v>69.8118</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80.43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176.314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B$2:$B$5</c:f>
              <c:numCache>
                <c:formatCode>General</c:formatCode>
                <c:ptCount val="4"/>
                <c:pt idx="2">
                  <c:v>205.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C$2:$C$5</c:f>
              <c:numCache>
                <c:formatCode>General</c:formatCode>
                <c:ptCount val="4"/>
                <c:pt idx="3">
                  <c:v>169.53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D$2:$D$5</c:f>
              <c:numCache>
                <c:formatCode>General</c:formatCode>
                <c:ptCount val="4"/>
                <c:pt idx="1">
                  <c:v>196.3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E$2:$E$5</c:f>
              <c:numCache>
                <c:formatCode>General</c:formatCode>
                <c:ptCount val="4"/>
                <c:pt idx="0">
                  <c:v>195.667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F$2:$F$5</c:f>
              <c:numCache>
                <c:formatCode>General</c:formatCode>
                <c:ptCount val="4"/>
                <c:pt idx="3">
                  <c:v>289.74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G$2:$G$5</c:f>
              <c:numCache>
                <c:formatCode>General</c:formatCode>
                <c:ptCount val="4"/>
                <c:pt idx="0">
                  <c:v>239.439</c:v>
                </c:pt>
                <c:pt idx="1">
                  <c:v>157.93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H$2:$H$5</c:f>
              <c:numCache>
                <c:formatCode>General</c:formatCode>
                <c:ptCount val="4"/>
                <c:pt idx="0">
                  <c:v>138.9984</c:v>
                </c:pt>
                <c:pt idx="1">
                  <c:v>93.568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I$2:$I$5</c:f>
              <c:numCache>
                <c:formatCode>General</c:formatCode>
                <c:ptCount val="4"/>
                <c:pt idx="0">
                  <c:v>88.515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Neutrogena</c:v>
                </c:pt>
              </c:strCache>
            </c:strRef>
          </c:cat>
          <c:val>
            <c:numRef>
              <c:f>Sheet1!$B$2:$B$3</c:f>
              <c:numCache>
                <c:formatCode>General</c:formatCode>
                <c:ptCount val="2"/>
                <c:pt idx="0">
                  <c:v>339.68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eutrogena</c:v>
                </c:pt>
              </c:strCache>
            </c:strRef>
          </c:cat>
          <c:val>
            <c:numRef>
              <c:f>Sheet1!$C$2:$C$3</c:f>
              <c:numCache>
                <c:formatCode>General</c:formatCode>
                <c:ptCount val="2"/>
                <c:pt idx="0">
                  <c:v>205.17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9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Neutrogena</c:v>
                </c:pt>
              </c:strCache>
            </c:strRef>
          </c:cat>
          <c:val>
            <c:numRef>
              <c:f>Sheet1!$D$2:$D$3</c:f>
              <c:numCache>
                <c:formatCode>General</c:formatCode>
                <c:ptCount val="2"/>
                <c:pt idx="1">
                  <c:v>350.61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Neutrogena</c:v>
                </c:pt>
              </c:strCache>
            </c:strRef>
          </c:cat>
          <c:val>
            <c:numRef>
              <c:f>Sheet1!$E$2:$E$3</c:f>
              <c:numCache>
                <c:formatCode>General</c:formatCode>
                <c:ptCount val="2"/>
                <c:pt idx="0">
                  <c:v>153.29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eutrogena</c:v>
                </c:pt>
              </c:strCache>
            </c:strRef>
          </c:cat>
          <c:val>
            <c:numRef>
              <c:f>Sheet1!$F$2:$F$3</c:f>
              <c:numCache>
                <c:formatCode>General</c:formatCode>
                <c:ptCount val="2"/>
                <c:pt idx="0">
                  <c:v>230.701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arnier</c:v>
                </c:pt>
              </c:strCache>
            </c:strRef>
          </c:cat>
          <c:val>
            <c:numRef>
              <c:f>Sheet1!$B$2:$B$2</c:f>
              <c:numCache>
                <c:formatCode>General</c:formatCode>
                <c:ptCount val="1"/>
                <c:pt idx="0">
                  <c:v>245.642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55.18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Others Marca Unif.</c:v>
                </c:pt>
              </c:strCache>
            </c:strRef>
          </c:cat>
          <c:val>
            <c:numRef>
              <c:f>Sheet1!$C$2:$C$2</c:f>
              <c:numCache>
                <c:formatCode>General</c:formatCode>
                <c:ptCount val="1"/>
                <c:pt idx="0">
                  <c:v>80.255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8.0</a:t>
                    </a:r>
                  </a:p>
                </c:rich>
              </c:tx>
              <c:dLblPos val="t"/>
              <c:showLegendKey val="0"/>
              <c:showVal val="1"/>
              <c:showCatName val="0"/>
              <c:showSerName val="0"/>
              <c:showPercent val="0"/>
              <c:showBubbleSize val="0"/>
            </c:dLbl>
            <c:dLbl>
              <c:idx val="2"/>
              <c:tx>
                <c:rich>
                  <a:bodyPr/>
                  <a:lstStyle/>
                  <a:p>
                    <a:r>
                      <a:t>70.09</a:t>
                    </a:r>
                  </a:p>
                </c:rich>
              </c:tx>
              <c:dLblPos val="t"/>
              <c:showLegendKey val="0"/>
              <c:showVal val="1"/>
              <c:showCatName val="0"/>
              <c:showSerName val="0"/>
              <c:showPercent val="0"/>
              <c:showBubbleSize val="0"/>
            </c:dLbl>
            <c:dLbl>
              <c:idx val="3"/>
              <c:tx>
                <c:rich>
                  <a:bodyPr/>
                  <a:lstStyle/>
                  <a:p>
                    <a:r>
                      <a:t>220.0</a:t>
                    </a:r>
                  </a:p>
                </c:rich>
              </c:tx>
              <c:dLblPos val="t"/>
              <c:showLegendKey val="0"/>
              <c:showVal val="1"/>
              <c:showCatName val="0"/>
              <c:showSerName val="0"/>
              <c:showPercent val="0"/>
              <c:showBubbleSize val="0"/>
            </c:dLbl>
            <c:dLbl>
              <c:idx val="4"/>
              <c:tx>
                <c:rich>
                  <a:bodyPr/>
                  <a:lstStyle/>
                  <a:p>
                    <a:r>
                      <a:t>133.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Other Sunscreen Adults Cosmetics Crema 50+ 240Ml</c:v>
                </c:pt>
                <c:pt idx="1">
                  <c:v>Edgewell Hawaiian Tropic Baby Sunscreen Baby Cosmetics Crema 50+ 240Ml</c:v>
                </c:pt>
                <c:pt idx="2">
                  <c:v>Edgewell Hawaiian Tropic Island Sport Sunscreen Adults Sport Liquido 50 60Ml</c:v>
                </c:pt>
                <c:pt idx="3">
                  <c:v>Edgewell Hawaiian Tropic Island Sport Sunscreen Adults Sport Spray Liquido 50 220Ml</c:v>
                </c:pt>
                <c:pt idx="4">
                  <c:v>Edgewell Hawaiian Tropic Sheer Touch Sunscreen Adults Cosmetics Liquido 30 - 49 60Ml</c:v>
                </c:pt>
              </c:strCache>
            </c:strRef>
          </c:cat>
          <c:val>
            <c:numRef>
              <c:f>Sheet1!$B$2:$B$6</c:f>
              <c:numCache>
                <c:formatCode>General</c:formatCode>
                <c:ptCount val="5"/>
                <c:pt idx="0">
                  <c:v>240.0</c:v>
                </c:pt>
                <c:pt idx="1">
                  <c:v>258.0</c:v>
                </c:pt>
                <c:pt idx="2">
                  <c:v>70.09</c:v>
                </c:pt>
                <c:pt idx="3">
                  <c:v>220.0</c:v>
                </c:pt>
                <c:pt idx="4">
                  <c:v>13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253.090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Others Marca Unif.</c:v>
                </c:pt>
                <c:pt idx="1">
                  <c:v>Isdin</c:v>
                </c:pt>
                <c:pt idx="2">
                  <c:v>Eclipsol</c:v>
                </c:pt>
                <c:pt idx="3">
                  <c:v>Neutrogena</c:v>
                </c:pt>
                <c:pt idx="4">
                  <c:v>Cicatricure</c:v>
                </c:pt>
              </c:strCache>
            </c:strRef>
          </c:cat>
          <c:val>
            <c:numRef>
              <c:f>Sheet1!$B$2:$B$6</c:f>
              <c:numCache>
                <c:formatCode>General</c:formatCode>
                <c:ptCount val="5"/>
                <c:pt idx="3">
                  <c:v>150.43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Others Marca Unif.</c:v>
                </c:pt>
                <c:pt idx="1">
                  <c:v>Isdin</c:v>
                </c:pt>
                <c:pt idx="2">
                  <c:v>Eclipsol</c:v>
                </c:pt>
                <c:pt idx="3">
                  <c:v>Neutrogena</c:v>
                </c:pt>
                <c:pt idx="4">
                  <c:v>Cicatricure</c:v>
                </c:pt>
              </c:strCache>
            </c:strRef>
          </c:cat>
          <c:val>
            <c:numRef>
              <c:f>Sheet1!$C$2:$C$6</c:f>
              <c:numCache>
                <c:formatCode>General</c:formatCode>
                <c:ptCount val="5"/>
                <c:pt idx="0">
                  <c:v>144.0669</c:v>
                </c:pt>
                <c:pt idx="2">
                  <c:v>291.05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Isdin</c:v>
                </c:pt>
                <c:pt idx="2">
                  <c:v>Eclipsol</c:v>
                </c:pt>
                <c:pt idx="3">
                  <c:v>Neutrogena</c:v>
                </c:pt>
                <c:pt idx="4">
                  <c:v>Cicatricure</c:v>
                </c:pt>
              </c:strCache>
            </c:strRef>
          </c:cat>
          <c:val>
            <c:numRef>
              <c:f>Sheet1!$D$2:$D$6</c:f>
              <c:numCache>
                <c:formatCode>General</c:formatCode>
                <c:ptCount val="5"/>
                <c:pt idx="4">
                  <c:v>160.56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Isdin</c:v>
                </c:pt>
                <c:pt idx="2">
                  <c:v>Eclipsol</c:v>
                </c:pt>
                <c:pt idx="3">
                  <c:v>Neutrogena</c:v>
                </c:pt>
                <c:pt idx="4">
                  <c:v>Cicatricure</c:v>
                </c:pt>
              </c:strCache>
            </c:strRef>
          </c:cat>
          <c:val>
            <c:numRef>
              <c:f>Sheet1!$E$2:$E$6</c:f>
              <c:numCache>
                <c:formatCode>General</c:formatCode>
                <c:ptCount val="5"/>
                <c:pt idx="3">
                  <c:v>213.37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Others Marca Unif.</c:v>
                </c:pt>
                <c:pt idx="1">
                  <c:v>Isdin</c:v>
                </c:pt>
                <c:pt idx="2">
                  <c:v>Eclipsol</c:v>
                </c:pt>
                <c:pt idx="3">
                  <c:v>Neutrogena</c:v>
                </c:pt>
                <c:pt idx="4">
                  <c:v>Cicatricure</c:v>
                </c:pt>
              </c:strCache>
            </c:strRef>
          </c:cat>
          <c:val>
            <c:numRef>
              <c:f>Sheet1!$F$2:$F$6</c:f>
              <c:numCache>
                <c:formatCode>General</c:formatCode>
                <c:ptCount val="5"/>
                <c:pt idx="1">
                  <c:v>427.95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Others Marca Unif.</c:v>
                </c:pt>
                <c:pt idx="1">
                  <c:v>Isdin</c:v>
                </c:pt>
                <c:pt idx="2">
                  <c:v>Eclipsol</c:v>
                </c:pt>
                <c:pt idx="3">
                  <c:v>Neutrogena</c:v>
                </c:pt>
                <c:pt idx="4">
                  <c:v>Cicatricure</c:v>
                </c:pt>
              </c:strCache>
            </c:strRef>
          </c:cat>
          <c:val>
            <c:numRef>
              <c:f>Sheet1!$G$2:$G$6</c:f>
              <c:numCache>
                <c:formatCode>General</c:formatCode>
                <c:ptCount val="5"/>
                <c:pt idx="0">
                  <c:v>115.857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650.38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465.668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Loreal Paris</c:v>
                </c:pt>
              </c:strCache>
            </c:strRef>
          </c:cat>
          <c:val>
            <c:numRef>
              <c:f>Sheet1!$B$2:$B$3</c:f>
              <c:numCache>
                <c:formatCode>General</c:formatCode>
                <c:ptCount val="2"/>
                <c:pt idx="0">
                  <c:v>481.02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Loreal Paris</c:v>
                </c:pt>
              </c:strCache>
            </c:strRef>
          </c:cat>
          <c:val>
            <c:numRef>
              <c:f>Sheet1!$C$2:$C$3</c:f>
              <c:numCache>
                <c:formatCode>General</c:formatCode>
                <c:ptCount val="2"/>
                <c:pt idx="1">
                  <c:v>173.1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Caribbean Beach</c:v>
                </c:pt>
                <c:pt idx="2">
                  <c:v>Coppertone</c:v>
                </c:pt>
              </c:strCache>
            </c:strRef>
          </c:cat>
          <c:val>
            <c:numRef>
              <c:f>Sheet1!$B$2:$B$4</c:f>
              <c:numCache>
                <c:formatCode>General</c:formatCode>
                <c:ptCount val="3"/>
                <c:pt idx="1">
                  <c:v>86.51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Caribbean Beach</c:v>
                </c:pt>
                <c:pt idx="2">
                  <c:v>Coppertone</c:v>
                </c:pt>
              </c:strCache>
            </c:strRef>
          </c:cat>
          <c:val>
            <c:numRef>
              <c:f>Sheet1!$C$2:$C$4</c:f>
              <c:numCache>
                <c:formatCode>General</c:formatCode>
                <c:ptCount val="3"/>
                <c:pt idx="2">
                  <c:v>100.14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aribbean Beach</c:v>
                </c:pt>
                <c:pt idx="2">
                  <c:v>Coppertone</c:v>
                </c:pt>
              </c:strCache>
            </c:strRef>
          </c:cat>
          <c:val>
            <c:numRef>
              <c:f>Sheet1!$D$2:$D$4</c:f>
              <c:numCache>
                <c:formatCode>General</c:formatCode>
                <c:ptCount val="3"/>
                <c:pt idx="0">
                  <c:v>268.92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aribbean Beach</c:v>
                </c:pt>
                <c:pt idx="2">
                  <c:v>Coppertone</c:v>
                </c:pt>
              </c:strCache>
            </c:strRef>
          </c:cat>
          <c:val>
            <c:numRef>
              <c:f>Sheet1!$E$2:$E$4</c:f>
              <c:numCache>
                <c:formatCode>General</c:formatCode>
                <c:ptCount val="3"/>
                <c:pt idx="0">
                  <c:v>260.88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Caribbean Beach</c:v>
                </c:pt>
                <c:pt idx="2">
                  <c:v>Coppertone</c:v>
                </c:pt>
              </c:strCache>
            </c:strRef>
          </c:cat>
          <c:val>
            <c:numRef>
              <c:f>Sheet1!$F$2:$F$4</c:f>
              <c:numCache>
                <c:formatCode>General</c:formatCode>
                <c:ptCount val="3"/>
                <c:pt idx="1">
                  <c:v>57.12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8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B$2:$B$3</c:f>
              <c:numCache>
                <c:formatCode>General</c:formatCode>
                <c:ptCount val="2"/>
                <c:pt idx="1">
                  <c:v>191.65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C$2:$C$3</c:f>
              <c:numCache>
                <c:formatCode>General</c:formatCode>
                <c:ptCount val="2"/>
                <c:pt idx="0">
                  <c:v>2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D$2:$D$3</c:f>
              <c:numCache>
                <c:formatCode>General</c:formatCode>
                <c:ptCount val="2"/>
                <c:pt idx="0">
                  <c:v>224.16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E$2:$E$3</c:f>
              <c:numCache>
                <c:formatCode>General</c:formatCode>
                <c:ptCount val="2"/>
                <c:pt idx="0">
                  <c:v>75.29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Coppertone</c:v>
                </c:pt>
                <c:pt idx="2">
                  <c:v>Neutrogena</c:v>
                </c:pt>
              </c:strCache>
            </c:strRef>
          </c:cat>
          <c:val>
            <c:numRef>
              <c:f>Sheet1!$B$2:$B$4</c:f>
              <c:numCache>
                <c:formatCode>General</c:formatCode>
                <c:ptCount val="3"/>
                <c:pt idx="2">
                  <c:v>30.38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Coppertone</c:v>
                </c:pt>
                <c:pt idx="2">
                  <c:v>Neutrogena</c:v>
                </c:pt>
              </c:strCache>
            </c:strRef>
          </c:cat>
          <c:val>
            <c:numRef>
              <c:f>Sheet1!$C$2:$C$4</c:f>
              <c:numCache>
                <c:formatCode>General</c:formatCode>
                <c:ptCount val="3"/>
                <c:pt idx="0">
                  <c:v>205.93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oppertone</c:v>
                </c:pt>
                <c:pt idx="2">
                  <c:v>Neutrogena</c:v>
                </c:pt>
              </c:strCache>
            </c:strRef>
          </c:cat>
          <c:val>
            <c:numRef>
              <c:f>Sheet1!$D$2:$D$4</c:f>
              <c:numCache>
                <c:formatCode>General</c:formatCode>
                <c:ptCount val="3"/>
                <c:pt idx="0">
                  <c:v>220.30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oppertone</c:v>
                </c:pt>
                <c:pt idx="2">
                  <c:v>Neutrogena</c:v>
                </c:pt>
              </c:strCache>
            </c:strRef>
          </c:cat>
          <c:val>
            <c:numRef>
              <c:f>Sheet1!$E$2:$E$4</c:f>
              <c:numCache>
                <c:formatCode>General</c:formatCode>
                <c:ptCount val="3"/>
                <c:pt idx="1">
                  <c:v>188.485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52.411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94.62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Others Marca Unif.</c:v>
                </c:pt>
              </c:strCache>
            </c:strRef>
          </c:cat>
          <c:val>
            <c:numRef>
              <c:f>Sheet1!$C$2:$C$2</c:f>
              <c:numCache>
                <c:formatCode>General</c:formatCode>
                <c:ptCount val="1"/>
                <c:pt idx="0">
                  <c:v>133.41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dLblPos val="t"/>
              <c:showLegendKey val="0"/>
              <c:showVal val="1"/>
              <c:showCatName val="0"/>
              <c:showSerName val="0"/>
              <c:showPercent val="0"/>
              <c:showBubbleSize val="0"/>
            </c:dLbl>
            <c:dLbl>
              <c:idx val="1"/>
              <c:tx>
                <c:rich>
                  <a:bodyPr/>
                  <a:lstStyle/>
                  <a:p>
                    <a:r>
                      <a:t>101.15</a:t>
                    </a:r>
                  </a:p>
                </c:rich>
              </c:tx>
              <c:dLblPos val="t"/>
              <c:showLegendKey val="0"/>
              <c:showVal val="1"/>
              <c:showCatName val="0"/>
              <c:showSerName val="0"/>
              <c:showPercent val="0"/>
              <c:showBubbleSize val="0"/>
            </c:dLbl>
            <c:dLbl>
              <c:idx val="2"/>
              <c:tx>
                <c:rich>
                  <a:bodyPr/>
                  <a:lstStyle/>
                  <a:p>
                    <a:r>
                      <a:t>330.69</a:t>
                    </a:r>
                  </a:p>
                </c:rich>
              </c:tx>
              <c:dLblPos val="t"/>
              <c:showLegendKey val="0"/>
              <c:showVal val="1"/>
              <c:showCatName val="0"/>
              <c:showSerName val="0"/>
              <c:showPercent val="0"/>
              <c:showBubbleSize val="0"/>
            </c:dLbl>
            <c:dLbl>
              <c:idx val="3"/>
              <c:tx>
                <c:rich>
                  <a:bodyPr/>
                  <a:lstStyle/>
                  <a:p>
                    <a:r>
                      <a:t>301.91</a:t>
                    </a:r>
                  </a:p>
                </c:rich>
              </c:tx>
              <c:dLblPos val="t"/>
              <c:showLegendKey val="0"/>
              <c:showVal val="1"/>
              <c:showCatName val="0"/>
              <c:showSerName val="0"/>
              <c:showPercent val="0"/>
              <c:showBubbleSize val="0"/>
            </c:dLbl>
            <c:dLbl>
              <c:idx val="4"/>
              <c:tx>
                <c:rich>
                  <a:bodyPr/>
                  <a:lstStyle/>
                  <a:p>
                    <a:r>
                      <a:t>194.2</a:t>
                    </a:r>
                  </a:p>
                </c:rich>
              </c:tx>
              <c:dLblPos val="t"/>
              <c:showLegendKey val="0"/>
              <c:showVal val="1"/>
              <c:showCatName val="0"/>
              <c:showSerName val="0"/>
              <c:showPercent val="0"/>
              <c:showBubbleSize val="0"/>
            </c:dLbl>
            <c:dLbl>
              <c:idx val="5"/>
              <c:tx>
                <c:rich>
                  <a:bodyPr/>
                  <a:lstStyle/>
                  <a:p>
                    <a:r>
                      <a:t>290.38</a:t>
                    </a:r>
                  </a:p>
                </c:rich>
              </c:tx>
              <c:dLblPos val="t"/>
              <c:showLegendKey val="0"/>
              <c:showVal val="1"/>
              <c:showCatName val="0"/>
              <c:showSerName val="0"/>
              <c:showPercent val="0"/>
              <c:showBubbleSize val="0"/>
            </c:dLbl>
            <c:dLbl>
              <c:idx val="6"/>
              <c:tx>
                <c:rich>
                  <a:bodyPr/>
                  <a:lstStyle/>
                  <a:p>
                    <a:r>
                      <a:t>339.07</a:t>
                    </a:r>
                  </a:p>
                </c:rich>
              </c:tx>
              <c:dLblPos val="t"/>
              <c:showLegendKey val="0"/>
              <c:showVal val="1"/>
              <c:showCatName val="0"/>
              <c:showSerName val="0"/>
              <c:showPercent val="0"/>
              <c:showBubbleSize val="0"/>
            </c:dLbl>
            <c:dLbl>
              <c:idx val="7"/>
              <c:tx>
                <c:rich>
                  <a:bodyPr/>
                  <a:lstStyle/>
                  <a:p>
                    <a:r>
                      <a:t>298.17</a:t>
                    </a:r>
                  </a:p>
                </c:rich>
              </c:tx>
              <c:dLblPos val="t"/>
              <c:showLegendKey val="0"/>
              <c:showVal val="1"/>
              <c:showCatName val="0"/>
              <c:showSerName val="0"/>
              <c:showPercent val="0"/>
              <c:showBubbleSize val="0"/>
            </c:dLbl>
            <c:dLbl>
              <c:idx val="8"/>
              <c:tx>
                <c:rich>
                  <a:bodyPr/>
                  <a:lstStyle/>
                  <a:p>
                    <a:r>
                      <a:t>99.46</a:t>
                    </a:r>
                  </a:p>
                </c:rich>
              </c:tx>
              <c:dLblPos val="t"/>
              <c:showLegendKey val="0"/>
              <c:showVal val="1"/>
              <c:showCatName val="0"/>
              <c:showSerName val="0"/>
              <c:showPercent val="0"/>
              <c:showBubbleSize val="0"/>
            </c:dLbl>
            <c:dLbl>
              <c:idx val="9"/>
              <c:tx>
                <c:rich>
                  <a:bodyPr/>
                  <a:lstStyle/>
                  <a:p>
                    <a:r>
                      <a:t>312.14</a:t>
                    </a:r>
                  </a:p>
                </c:rich>
              </c:tx>
              <c:dLblPos val="t"/>
              <c:showLegendKey val="0"/>
              <c:showVal val="1"/>
              <c:showCatName val="0"/>
              <c:showSerName val="0"/>
              <c:showPercent val="0"/>
              <c:showBubbleSize val="0"/>
            </c:dLbl>
            <c:dLbl>
              <c:idx val="10"/>
              <c:tx>
                <c:rich>
                  <a:bodyPr/>
                  <a:lstStyle/>
                  <a:p>
                    <a:r>
                      <a:t>189.54</a:t>
                    </a:r>
                  </a:p>
                </c:rich>
              </c:tx>
              <c:dLblPos val="t"/>
              <c:showLegendKey val="0"/>
              <c:showVal val="1"/>
              <c:showCatName val="0"/>
              <c:showSerName val="0"/>
              <c:showPercent val="0"/>
              <c:showBubbleSize val="0"/>
            </c:dLbl>
            <c:dLbl>
              <c:idx val="11"/>
              <c:tx>
                <c:rich>
                  <a:bodyPr/>
                  <a:lstStyle/>
                  <a:p>
                    <a:r>
                      <a:t>300.48</a:t>
                    </a:r>
                  </a:p>
                </c:rich>
              </c:tx>
              <c:dLblPos val="t"/>
              <c:showLegendKey val="0"/>
              <c:showVal val="1"/>
              <c:showCatName val="0"/>
              <c:showSerName val="0"/>
              <c:showPercent val="0"/>
              <c:showBubbleSize val="0"/>
            </c:dLbl>
            <c:dLbl>
              <c:idx val="12"/>
              <c:tx>
                <c:rich>
                  <a:bodyPr/>
                  <a:lstStyle/>
                  <a:p>
                    <a:r>
                      <a:t>305.29</a:t>
                    </a:r>
                  </a:p>
                </c:rich>
              </c:tx>
              <c:dLblPos val="t"/>
              <c:showLegendKey val="0"/>
              <c:showVal val="1"/>
              <c:showCatName val="0"/>
              <c:showSerName val="0"/>
              <c:showPercent val="0"/>
              <c:showBubbleSize val="0"/>
            </c:dLbl>
            <c:dLbl>
              <c:idx val="13"/>
              <c:tx>
                <c:rich>
                  <a:bodyPr/>
                  <a:lstStyle/>
                  <a:p>
                    <a:r>
                      <a:t>324.32</a:t>
                    </a:r>
                  </a:p>
                </c:rich>
              </c:tx>
              <c:dLblPos val="t"/>
              <c:showLegendKey val="0"/>
              <c:showVal val="1"/>
              <c:showCatName val="0"/>
              <c:showSerName val="0"/>
              <c:showPercent val="0"/>
              <c:showBubbleSize val="0"/>
            </c:dLbl>
            <c:dLbl>
              <c:idx val="14"/>
              <c:tx>
                <c:rich>
                  <a:bodyPr/>
                  <a:lstStyle/>
                  <a:p>
                    <a:r>
                      <a:t>9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Ozono Sunscreen Adults Cosmetics Spray Liquido 50+ 180Ml</c:v>
                </c:pt>
                <c:pt idx="3">
                  <c:v>Edgewell Hawaiian Tropic Silk Hydration Sunscreen Adults Cosmetics Liquido 50 180Ml</c:v>
                </c:pt>
                <c:pt idx="4">
                  <c:v>Edgewell Hawaiian Tropic Ozono Sunscreen Adults Cosmetics Liquido 50+ 120Ml</c:v>
                </c:pt>
                <c:pt idx="5">
                  <c:v>Edgewell Hawaiian Tropic Tanning Sunscreen Adults Cosmetics Spray Liquido 15 - 19 220Ml</c:v>
                </c:pt>
                <c:pt idx="6">
                  <c:v>Edgewell Hawaiian Tropic Silk Hydration Sunscreen Adults Cosmetics Spray Liquido 50+ 180Ml</c:v>
                </c:pt>
                <c:pt idx="7">
                  <c:v>Edgewell Hawaiian Tropic Ozono Sunscreen Adults Cosmetics Liquido 50+ 18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305.12</c:v>
                </c:pt>
                <c:pt idx="1">
                  <c:v>101.15</c:v>
                </c:pt>
                <c:pt idx="2">
                  <c:v>330.69</c:v>
                </c:pt>
                <c:pt idx="3">
                  <c:v>301.91</c:v>
                </c:pt>
                <c:pt idx="4">
                  <c:v>194.2</c:v>
                </c:pt>
                <c:pt idx="5">
                  <c:v>290.38</c:v>
                </c:pt>
                <c:pt idx="6">
                  <c:v>339.07</c:v>
                </c:pt>
                <c:pt idx="7">
                  <c:v>298.17</c:v>
                </c:pt>
                <c:pt idx="8">
                  <c:v>99.46</c:v>
                </c:pt>
                <c:pt idx="9">
                  <c:v>312.14</c:v>
                </c:pt>
                <c:pt idx="10">
                  <c:v>189.54</c:v>
                </c:pt>
                <c:pt idx="11">
                  <c:v>300.48</c:v>
                </c:pt>
                <c:pt idx="12">
                  <c:v>305.29</c:v>
                </c:pt>
                <c:pt idx="13">
                  <c:v>324.32</c:v>
                </c:pt>
                <c:pt idx="14">
                  <c:v>9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18.1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B$2:$B$9</c:f>
              <c:numCache>
                <c:formatCode>General</c:formatCode>
                <c:ptCount val="8"/>
                <c:pt idx="0">
                  <c:v>180.8262</c:v>
                </c:pt>
                <c:pt idx="4">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C$2:$C$9</c:f>
              <c:numCache>
                <c:formatCode>General</c:formatCode>
                <c:ptCount val="8"/>
                <c:pt idx="3">
                  <c:v>104.8115</c:v>
                </c:pt>
                <c:pt idx="7">
                  <c:v>90.22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D$2:$D$9</c:f>
              <c:numCache>
                <c:formatCode>General</c:formatCode>
                <c:ptCount val="8"/>
                <c:pt idx="1">
                  <c:v>234.0</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E$2:$E$9</c:f>
              <c:numCache>
                <c:formatCode>General</c:formatCode>
                <c:ptCount val="8"/>
                <c:pt idx="0">
                  <c:v>101.8947</c:v>
                </c:pt>
                <c:pt idx="1">
                  <c:v>190.25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F$2:$F$9</c:f>
              <c:numCache>
                <c:formatCode>General</c:formatCode>
                <c:ptCount val="8"/>
                <c:pt idx="2">
                  <c:v>259.6867</c:v>
                </c:pt>
                <c:pt idx="6">
                  <c:v>103.72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G$2:$G$9</c:f>
              <c:numCache>
                <c:formatCode>General</c:formatCode>
                <c:ptCount val="8"/>
                <c:pt idx="1">
                  <c:v>200.89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H$2:$H$9</c:f>
              <c:numCache>
                <c:formatCode>General</c:formatCode>
                <c:ptCount val="8"/>
                <c:pt idx="1">
                  <c:v>244.396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I$2:$I$9</c:f>
              <c:numCache>
                <c:formatCode>General</c:formatCode>
                <c:ptCount val="8"/>
                <c:pt idx="0">
                  <c:v>261.244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J$2:$J$9</c:f>
              <c:numCache>
                <c:formatCode>General</c:formatCode>
                <c:ptCount val="8"/>
                <c:pt idx="3">
                  <c:v>124.02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K$2:$K$9</c:f>
              <c:numCache>
                <c:formatCode>General</c:formatCode>
                <c:ptCount val="8"/>
                <c:pt idx="1">
                  <c:v>5.0</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L$2:$L$9</c:f>
              <c:numCache>
                <c:formatCode>General</c:formatCode>
                <c:ptCount val="8"/>
                <c:pt idx="2">
                  <c:v>247.3412</c:v>
                </c:pt>
                <c:pt idx="5">
                  <c:v>185.826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M$2:$M$9</c:f>
              <c:numCache>
                <c:formatCode>General</c:formatCode>
                <c:ptCount val="8"/>
                <c:pt idx="2">
                  <c:v>231.7299</c:v>
                </c:pt>
                <c:pt idx="6">
                  <c:v>217.98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N$2:$N$9</c:f>
              <c:numCache>
                <c:formatCode>General</c:formatCode>
                <c:ptCount val="8"/>
                <c:pt idx="1">
                  <c:v>6.4724</c:v>
                </c:pt>
                <c:pt idx="3">
                  <c:v>32.710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O$2:$O$9</c:f>
              <c:numCache>
                <c:formatCode>General</c:formatCode>
                <c:ptCount val="8"/>
                <c:pt idx="3">
                  <c:v>124.910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Caribbean Beach</c:v>
                </c:pt>
                <c:pt idx="4">
                  <c:v>Nuvel</c:v>
                </c:pt>
                <c:pt idx="5">
                  <c:v>Garnier</c:v>
                </c:pt>
                <c:pt idx="6">
                  <c:v>Others Marca Unif.</c:v>
                </c:pt>
                <c:pt idx="7">
                  <c:v>Inds.Lavin De Mexico: All Others</c:v>
                </c:pt>
              </c:strCache>
            </c:strRef>
          </c:cat>
          <c:val>
            <c:numRef>
              <c:f>Sheet1!$P$2:$P$9</c:f>
              <c:numCache>
                <c:formatCode>General</c:formatCode>
                <c:ptCount val="8"/>
                <c:pt idx="6">
                  <c:v>67.852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Nivea</c:v>
                </c:pt>
              </c:strCache>
            </c:strRef>
          </c:cat>
          <c:val>
            <c:numRef>
              <c:f>Sheet1!$B$2:$B$3</c:f>
              <c:numCache>
                <c:formatCode>General</c:formatCode>
                <c:ptCount val="2"/>
                <c:pt idx="1">
                  <c:v>243.35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Nivea</c:v>
                </c:pt>
              </c:strCache>
            </c:strRef>
          </c:cat>
          <c:val>
            <c:numRef>
              <c:f>Sheet1!$C$2:$C$3</c:f>
              <c:numCache>
                <c:formatCode>General</c:formatCode>
                <c:ptCount val="2"/>
                <c:pt idx="0">
                  <c:v>269.452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53.5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59.883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B$2:$B$5</c:f>
              <c:numCache>
                <c:formatCode>General</c:formatCode>
                <c:ptCount val="4"/>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C$2:$C$5</c:f>
              <c:numCache>
                <c:formatCode>General</c:formatCode>
                <c:ptCount val="4"/>
                <c:pt idx="0">
                  <c:v>187.6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D$2:$D$5</c:f>
              <c:numCache>
                <c:formatCode>General</c:formatCode>
                <c:ptCount val="4"/>
                <c:pt idx="3">
                  <c:v>175.09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E$2:$E$5</c:f>
              <c:numCache>
                <c:formatCode>General</c:formatCode>
                <c:ptCount val="4"/>
                <c:pt idx="0">
                  <c:v>238.78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F$2:$F$5</c:f>
              <c:numCache>
                <c:formatCode>General</c:formatCode>
                <c:ptCount val="4"/>
                <c:pt idx="1">
                  <c:v>276.91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G$2:$G$5</c:f>
              <c:numCache>
                <c:formatCode>General</c:formatCode>
                <c:ptCount val="4"/>
                <c:pt idx="0">
                  <c:v>67.79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H$2:$H$5</c:f>
              <c:numCache>
                <c:formatCode>General</c:formatCode>
                <c:ptCount val="4"/>
                <c:pt idx="0">
                  <c:v>268.1255</c:v>
                </c:pt>
                <c:pt idx="1">
                  <c:v>208.68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I$2:$I$5</c:f>
              <c:numCache>
                <c:formatCode>General</c:formatCode>
                <c:ptCount val="4"/>
                <c:pt idx="3">
                  <c:v>264.38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J$2:$J$5</c:f>
              <c:numCache>
                <c:formatCode>General</c:formatCode>
                <c:ptCount val="4"/>
                <c:pt idx="0">
                  <c:v>255.154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K$2:$K$5</c:f>
              <c:numCache>
                <c:formatCode>General</c:formatCode>
                <c:ptCount val="4"/>
                <c:pt idx="0">
                  <c:v>254.8698</c:v>
                </c:pt>
                <c:pt idx="1">
                  <c:v>230.552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L$2:$L$5</c:f>
              <c:numCache>
                <c:formatCode>General</c:formatCode>
                <c:ptCount val="4"/>
                <c:pt idx="0">
                  <c:v>222.5471</c:v>
                </c:pt>
                <c:pt idx="2">
                  <c:v>206.818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M$2:$M$5</c:f>
              <c:numCache>
                <c:formatCode>General</c:formatCode>
                <c:ptCount val="4"/>
                <c:pt idx="0">
                  <c:v>122.6734</c:v>
                </c:pt>
                <c:pt idx="1">
                  <c:v>83.548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N$2:$N$5</c:f>
              <c:numCache>
                <c:formatCode>General</c:formatCode>
                <c:ptCount val="4"/>
                <c:pt idx="0">
                  <c:v>96.2608</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Sun &amp; Skin Care Research: All Others</c:v>
                </c:pt>
                <c:pt idx="2">
                  <c:v>Mustela</c:v>
                </c:pt>
                <c:pt idx="3">
                  <c:v>Ocean Potion</c:v>
                </c:pt>
              </c:strCache>
            </c:strRef>
          </c:cat>
          <c:val>
            <c:numRef>
              <c:f>Sheet1!$B$2:$B$5</c:f>
              <c:numCache>
                <c:formatCode>General</c:formatCode>
                <c:ptCount val="4"/>
                <c:pt idx="2">
                  <c:v>474.15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Sun &amp; Skin Care Research: All Others</c:v>
                </c:pt>
                <c:pt idx="2">
                  <c:v>Mustela</c:v>
                </c:pt>
                <c:pt idx="3">
                  <c:v>Ocean Potion</c:v>
                </c:pt>
              </c:strCache>
            </c:strRef>
          </c:cat>
          <c:val>
            <c:numRef>
              <c:f>Sheet1!$C$2:$C$5</c:f>
              <c:numCache>
                <c:formatCode>General</c:formatCode>
                <c:ptCount val="4"/>
                <c:pt idx="0">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Sun &amp; Skin Care Research: All Others</c:v>
                </c:pt>
                <c:pt idx="2">
                  <c:v>Mustela</c:v>
                </c:pt>
                <c:pt idx="3">
                  <c:v>Ocean Potion</c:v>
                </c:pt>
              </c:strCache>
            </c:strRef>
          </c:cat>
          <c:val>
            <c:numRef>
              <c:f>Sheet1!$D$2:$D$5</c:f>
              <c:numCache>
                <c:formatCode>General</c:formatCode>
                <c:ptCount val="4"/>
                <c:pt idx="0">
                  <c:v>272.11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Sun &amp; Skin Care Research: All Others</c:v>
                </c:pt>
                <c:pt idx="2">
                  <c:v>Mustela</c:v>
                </c:pt>
                <c:pt idx="3">
                  <c:v>Ocean Potion</c:v>
                </c:pt>
              </c:strCache>
            </c:strRef>
          </c:cat>
          <c:val>
            <c:numRef>
              <c:f>Sheet1!$E$2:$E$5</c:f>
              <c:numCache>
                <c:formatCode>General</c:formatCode>
                <c:ptCount val="4"/>
                <c:pt idx="0">
                  <c:v>280.48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1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Sun &amp; Skin Care Research: All Others</c:v>
                </c:pt>
                <c:pt idx="2">
                  <c:v>Mustela</c:v>
                </c:pt>
                <c:pt idx="3">
                  <c:v>Ocean Potion</c:v>
                </c:pt>
              </c:strCache>
            </c:strRef>
          </c:cat>
          <c:val>
            <c:numRef>
              <c:f>Sheet1!$F$2:$F$5</c:f>
              <c:numCache>
                <c:formatCode>General</c:formatCode>
                <c:ptCount val="4"/>
                <c:pt idx="3">
                  <c:v>272.27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Sun &amp; Skin Care Research: All Others</c:v>
                </c:pt>
                <c:pt idx="2">
                  <c:v>Mustela</c:v>
                </c:pt>
                <c:pt idx="3">
                  <c:v>Ocean Potion</c:v>
                </c:pt>
              </c:strCache>
            </c:strRef>
          </c:cat>
          <c:val>
            <c:numRef>
              <c:f>Sheet1!$G$2:$G$5</c:f>
              <c:numCache>
                <c:formatCode>General</c:formatCode>
                <c:ptCount val="4"/>
                <c:pt idx="0">
                  <c:v>237.07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Sun &amp; Skin Care Research: All Others</c:v>
                </c:pt>
                <c:pt idx="2">
                  <c:v>Mustela</c:v>
                </c:pt>
                <c:pt idx="3">
                  <c:v>Ocean Potion</c:v>
                </c:pt>
              </c:strCache>
            </c:strRef>
          </c:cat>
          <c:val>
            <c:numRef>
              <c:f>Sheet1!$H$2:$H$5</c:f>
              <c:numCache>
                <c:formatCode>General</c:formatCode>
                <c:ptCount val="4"/>
                <c:pt idx="1">
                  <c:v>263.72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Sun &amp; Skin Care Research: All Others</c:v>
                </c:pt>
                <c:pt idx="2">
                  <c:v>Mustela</c:v>
                </c:pt>
                <c:pt idx="3">
                  <c:v>Ocean Potion</c:v>
                </c:pt>
              </c:strCache>
            </c:strRef>
          </c:cat>
          <c:val>
            <c:numRef>
              <c:f>Sheet1!$I$2:$I$5</c:f>
              <c:numCache>
                <c:formatCode>General</c:formatCode>
                <c:ptCount val="4"/>
                <c:pt idx="0">
                  <c:v>250.94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9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Sun &amp; Skin Care Research: All Others</c:v>
                </c:pt>
                <c:pt idx="2">
                  <c:v>Mustela</c:v>
                </c:pt>
                <c:pt idx="3">
                  <c:v>Ocean Potion</c:v>
                </c:pt>
              </c:strCache>
            </c:strRef>
          </c:cat>
          <c:val>
            <c:numRef>
              <c:f>Sheet1!$J$2:$J$5</c:f>
              <c:numCache>
                <c:formatCode>General</c:formatCode>
                <c:ptCount val="4"/>
                <c:pt idx="1">
                  <c:v>169.707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4.677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arnier</c:v>
                </c:pt>
              </c:strCache>
            </c:strRef>
          </c:cat>
          <c:val>
            <c:numRef>
              <c:f>Sheet1!$B$2:$B$2</c:f>
              <c:numCache>
                <c:formatCode>General</c:formatCode>
                <c:ptCount val="1"/>
                <c:pt idx="0">
                  <c:v>208.506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6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Banana Boat</c:v>
                </c:pt>
                <c:pt idx="1">
                  <c:v>Australian Gold</c:v>
                </c:pt>
                <c:pt idx="2">
                  <c:v>Ocean Potion</c:v>
                </c:pt>
                <c:pt idx="3">
                  <c:v>Mustela</c:v>
                </c:pt>
                <c:pt idx="4">
                  <c:v>Others Marca Unif.</c:v>
                </c:pt>
              </c:strCache>
            </c:strRef>
          </c:cat>
          <c:val>
            <c:numRef>
              <c:f>Sheet1!$B$2:$B$6</c:f>
              <c:numCache>
                <c:formatCode>General</c:formatCode>
                <c:ptCount val="5"/>
                <c:pt idx="2">
                  <c:v>322.31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Banana Boat</c:v>
                </c:pt>
                <c:pt idx="1">
                  <c:v>Australian Gold</c:v>
                </c:pt>
                <c:pt idx="2">
                  <c:v>Ocean Potion</c:v>
                </c:pt>
                <c:pt idx="3">
                  <c:v>Mustela</c:v>
                </c:pt>
                <c:pt idx="4">
                  <c:v>Others Marca Unif.</c:v>
                </c:pt>
              </c:strCache>
            </c:strRef>
          </c:cat>
          <c:val>
            <c:numRef>
              <c:f>Sheet1!$C$2:$C$6</c:f>
              <c:numCache>
                <c:formatCode>General</c:formatCode>
                <c:ptCount val="5"/>
                <c:pt idx="0">
                  <c:v>272.7836</c:v>
                </c:pt>
                <c:pt idx="1">
                  <c:v>351.66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Banana Boat</c:v>
                </c:pt>
                <c:pt idx="1">
                  <c:v>Australian Gold</c:v>
                </c:pt>
                <c:pt idx="2">
                  <c:v>Ocean Potion</c:v>
                </c:pt>
                <c:pt idx="3">
                  <c:v>Mustela</c:v>
                </c:pt>
                <c:pt idx="4">
                  <c:v>Others Marca Unif.</c:v>
                </c:pt>
              </c:strCache>
            </c:strRef>
          </c:cat>
          <c:val>
            <c:numRef>
              <c:f>Sheet1!$D$2:$D$6</c:f>
              <c:numCache>
                <c:formatCode>General</c:formatCode>
                <c:ptCount val="5"/>
                <c:pt idx="3">
                  <c:v>408.4136</c:v>
                </c:pt>
                <c:pt idx="4">
                  <c:v>299.375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Neutrogena</c:v>
                </c:pt>
              </c:strCache>
            </c:strRef>
          </c:cat>
          <c:val>
            <c:numRef>
              <c:f>Sheet1!$B$2:$B$3</c:f>
              <c:numCache>
                <c:formatCode>General</c:formatCode>
                <c:ptCount val="2"/>
                <c:pt idx="0">
                  <c:v>347.48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Neutrogena</c:v>
                </c:pt>
              </c:strCache>
            </c:strRef>
          </c:cat>
          <c:val>
            <c:numRef>
              <c:f>Sheet1!$C$2:$C$3</c:f>
              <c:numCache>
                <c:formatCode>General</c:formatCode>
                <c:ptCount val="2"/>
                <c:pt idx="0">
                  <c:v>237.8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2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Neutrogena</c:v>
                </c:pt>
              </c:strCache>
            </c:strRef>
          </c:cat>
          <c:val>
            <c:numRef>
              <c:f>Sheet1!$D$2:$D$3</c:f>
              <c:numCache>
                <c:formatCode>General</c:formatCode>
                <c:ptCount val="2"/>
                <c:pt idx="1">
                  <c:v>351.098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7.23</a:t>
                    </a:r>
                  </a:p>
                </c:rich>
              </c:tx>
              <c:dLblPos val="t"/>
              <c:showLegendKey val="0"/>
              <c:showVal val="1"/>
              <c:showCatName val="0"/>
              <c:showSerName val="0"/>
              <c:showPercent val="0"/>
              <c:showBubbleSize val="0"/>
            </c:dLbl>
            <c:dLbl>
              <c:idx val="1"/>
              <c:tx>
                <c:rich>
                  <a:bodyPr/>
                  <a:lstStyle/>
                  <a:p>
                    <a:r>
                      <a:t>312.26</a:t>
                    </a:r>
                  </a:p>
                </c:rich>
              </c:tx>
              <c:dLblPos val="t"/>
              <c:showLegendKey val="0"/>
              <c:showVal val="1"/>
              <c:showCatName val="0"/>
              <c:showSerName val="0"/>
              <c:showPercent val="0"/>
              <c:showBubbleSize val="0"/>
            </c:dLbl>
            <c:dLbl>
              <c:idx val="2"/>
              <c:tx>
                <c:rich>
                  <a:bodyPr/>
                  <a:lstStyle/>
                  <a:p>
                    <a:r>
                      <a:t>85.3</a:t>
                    </a:r>
                  </a:p>
                </c:rich>
              </c:tx>
              <c:dLblPos val="t"/>
              <c:showLegendKey val="0"/>
              <c:showVal val="1"/>
              <c:showCatName val="0"/>
              <c:showSerName val="0"/>
              <c:showPercent val="0"/>
              <c:showBubbleSize val="0"/>
            </c:dLbl>
            <c:dLbl>
              <c:idx val="3"/>
              <c:tx>
                <c:rich>
                  <a:bodyPr/>
                  <a:lstStyle/>
                  <a:p>
                    <a:r>
                      <a:t>246.2</a:t>
                    </a:r>
                  </a:p>
                </c:rich>
              </c:tx>
              <c:dLblPos val="t"/>
              <c:showLegendKey val="0"/>
              <c:showVal val="1"/>
              <c:showCatName val="0"/>
              <c:showSerName val="0"/>
              <c:showPercent val="0"/>
              <c:showBubbleSize val="0"/>
            </c:dLbl>
            <c:dLbl>
              <c:idx val="4"/>
              <c:tx>
                <c:rich>
                  <a:bodyPr/>
                  <a:lstStyle/>
                  <a:p>
                    <a:r>
                      <a:t>258.77</a:t>
                    </a:r>
                  </a:p>
                </c:rich>
              </c:tx>
              <c:dLblPos val="t"/>
              <c:showLegendKey val="0"/>
              <c:showVal val="1"/>
              <c:showCatName val="0"/>
              <c:showSerName val="0"/>
              <c:showPercent val="0"/>
              <c:showBubbleSize val="0"/>
            </c:dLbl>
            <c:dLbl>
              <c:idx val="5"/>
              <c:tx>
                <c:rich>
                  <a:bodyPr/>
                  <a:lstStyle/>
                  <a:p>
                    <a:r>
                      <a:t>342.71</a:t>
                    </a:r>
                  </a:p>
                </c:rich>
              </c:tx>
              <c:dLblPos val="t"/>
              <c:showLegendKey val="0"/>
              <c:showVal val="1"/>
              <c:showCatName val="0"/>
              <c:showSerName val="0"/>
              <c:showPercent val="0"/>
              <c:showBubbleSize val="0"/>
            </c:dLbl>
            <c:dLbl>
              <c:idx val="6"/>
              <c:tx>
                <c:rich>
                  <a:bodyPr/>
                  <a:lstStyle/>
                  <a:p>
                    <a:r>
                      <a:t>331.67</a:t>
                    </a:r>
                  </a:p>
                </c:rich>
              </c:tx>
              <c:dLblPos val="t"/>
              <c:showLegendKey val="0"/>
              <c:showVal val="1"/>
              <c:showCatName val="0"/>
              <c:showSerName val="0"/>
              <c:showPercent val="0"/>
              <c:showBubbleSize val="0"/>
            </c:dLbl>
            <c:dLbl>
              <c:idx val="7"/>
              <c:tx>
                <c:rich>
                  <a:bodyPr/>
                  <a:lstStyle/>
                  <a:p>
                    <a:r>
                      <a:t>324.11</a:t>
                    </a:r>
                  </a:p>
                </c:rich>
              </c:tx>
              <c:dLblPos val="t"/>
              <c:showLegendKey val="0"/>
              <c:showVal val="1"/>
              <c:showCatName val="0"/>
              <c:showSerName val="0"/>
              <c:showPercent val="0"/>
              <c:showBubbleSize val="0"/>
            </c:dLbl>
            <c:dLbl>
              <c:idx val="8"/>
              <c:tx>
                <c:rich>
                  <a:bodyPr/>
                  <a:lstStyle/>
                  <a:p>
                    <a:r>
                      <a:t>296.61</a:t>
                    </a:r>
                  </a:p>
                </c:rich>
              </c:tx>
              <c:dLblPos val="t"/>
              <c:showLegendKey val="0"/>
              <c:showVal val="1"/>
              <c:showCatName val="0"/>
              <c:showSerName val="0"/>
              <c:showPercent val="0"/>
              <c:showBubbleSize val="0"/>
            </c:dLbl>
            <c:dLbl>
              <c:idx val="9"/>
              <c:tx>
                <c:rich>
                  <a:bodyPr/>
                  <a:lstStyle/>
                  <a:p>
                    <a:r>
                      <a:t>297.2</a:t>
                    </a:r>
                  </a:p>
                </c:rich>
              </c:tx>
              <c:dLblPos val="t"/>
              <c:showLegendKey val="0"/>
              <c:showVal val="1"/>
              <c:showCatName val="0"/>
              <c:showSerName val="0"/>
              <c:showPercent val="0"/>
              <c:showBubbleSize val="0"/>
            </c:dLbl>
            <c:dLbl>
              <c:idx val="10"/>
              <c:tx>
                <c:rich>
                  <a:bodyPr/>
                  <a:lstStyle/>
                  <a:p>
                    <a:r>
                      <a:t>283.77</a:t>
                    </a:r>
                  </a:p>
                </c:rich>
              </c:tx>
              <c:dLblPos val="t"/>
              <c:showLegendKey val="0"/>
              <c:showVal val="1"/>
              <c:showCatName val="0"/>
              <c:showSerName val="0"/>
              <c:showPercent val="0"/>
              <c:showBubbleSize val="0"/>
            </c:dLbl>
            <c:dLbl>
              <c:idx val="11"/>
              <c:tx>
                <c:rich>
                  <a:bodyPr/>
                  <a:lstStyle/>
                  <a:p>
                    <a:r>
                      <a:t>254.4</a:t>
                    </a:r>
                  </a:p>
                </c:rich>
              </c:tx>
              <c:dLblPos val="t"/>
              <c:showLegendKey val="0"/>
              <c:showVal val="1"/>
              <c:showCatName val="0"/>
              <c:showSerName val="0"/>
              <c:showPercent val="0"/>
              <c:showBubbleSize val="0"/>
            </c:dLbl>
            <c:dLbl>
              <c:idx val="12"/>
              <c:tx>
                <c:rich>
                  <a:bodyPr/>
                  <a:lstStyle/>
                  <a:p>
                    <a:r>
                      <a:t>302.86</a:t>
                    </a:r>
                  </a:p>
                </c:rich>
              </c:tx>
              <c:dLblPos val="t"/>
              <c:showLegendKey val="0"/>
              <c:showVal val="1"/>
              <c:showCatName val="0"/>
              <c:showSerName val="0"/>
              <c:showPercent val="0"/>
              <c:showBubbleSize val="0"/>
            </c:dLbl>
            <c:dLbl>
              <c:idx val="13"/>
              <c:tx>
                <c:rich>
                  <a:bodyPr/>
                  <a:lstStyle/>
                  <a:p>
                    <a:r>
                      <a:t>311.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180Ml</c:v>
                </c:pt>
                <c:pt idx="4">
                  <c:v>Edgewell Banana Boat Banded Pack Banded Pack 2X Sunscreen Multi 50+ 236Ml</c:v>
                </c:pt>
                <c:pt idx="5">
                  <c:v>Edgewell Banana Boat Banded Pack Banded Pack 2X Sunscreen Multi 50+ 170Ml</c:v>
                </c:pt>
                <c:pt idx="6">
                  <c:v>Edgewell Banana Boat Mineral Sunscreen Kids Cosmetics Locion 50 180Ml</c:v>
                </c:pt>
                <c:pt idx="7">
                  <c:v>Edgewell Banana Boat Mineral Sunscreen Adults Cosmetics Locion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Dry Balance Sunscreen Adults Sport Spray Liquido 50 220Ml</c:v>
                </c:pt>
                <c:pt idx="13">
                  <c:v>Edgewell Banana Boat Mineral Sunscreen Adults Sport Locion 50 180Ml</c:v>
                </c:pt>
              </c:strCache>
            </c:strRef>
          </c:cat>
          <c:val>
            <c:numRef>
              <c:f>Sheet1!$B$2:$B$16</c:f>
              <c:numCache>
                <c:formatCode>General</c:formatCode>
                <c:ptCount val="15"/>
                <c:pt idx="0">
                  <c:v>307.23</c:v>
                </c:pt>
                <c:pt idx="1">
                  <c:v>312.26</c:v>
                </c:pt>
                <c:pt idx="2">
                  <c:v>85.3</c:v>
                </c:pt>
                <c:pt idx="3">
                  <c:v>246.2</c:v>
                </c:pt>
                <c:pt idx="4">
                  <c:v>258.77</c:v>
                </c:pt>
                <c:pt idx="5">
                  <c:v>342.71</c:v>
                </c:pt>
                <c:pt idx="6">
                  <c:v>331.67</c:v>
                </c:pt>
                <c:pt idx="7">
                  <c:v>324.11</c:v>
                </c:pt>
                <c:pt idx="8">
                  <c:v>296.61</c:v>
                </c:pt>
                <c:pt idx="9">
                  <c:v>297.2</c:v>
                </c:pt>
                <c:pt idx="10">
                  <c:v>283.77</c:v>
                </c:pt>
                <c:pt idx="11">
                  <c:v>254.4</c:v>
                </c:pt>
                <c:pt idx="12">
                  <c:v>302.86</c:v>
                </c:pt>
                <c:pt idx="13">
                  <c:v>311.48</c:v>
                </c:pt>
                <c:pt idx="14">
                  <c:v>33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La Roche-Posay</c:v>
                </c:pt>
                <c:pt idx="2">
                  <c:v>Vichy</c:v>
                </c:pt>
                <c:pt idx="3">
                  <c:v>Others Marca Unif.</c:v>
                </c:pt>
              </c:strCache>
            </c:strRef>
          </c:cat>
          <c:val>
            <c:numRef>
              <c:f>Sheet1!$B$2:$B$5</c:f>
              <c:numCache>
                <c:formatCode>General</c:formatCode>
                <c:ptCount val="4"/>
                <c:pt idx="3">
                  <c:v>11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La Roche-Posay</c:v>
                </c:pt>
                <c:pt idx="2">
                  <c:v>Vichy</c:v>
                </c:pt>
                <c:pt idx="3">
                  <c:v>Others Marca Unif.</c:v>
                </c:pt>
              </c:strCache>
            </c:strRef>
          </c:cat>
          <c:val>
            <c:numRef>
              <c:f>Sheet1!$C$2:$C$5</c:f>
              <c:numCache>
                <c:formatCode>General</c:formatCode>
                <c:ptCount val="4"/>
                <c:pt idx="0">
                  <c:v>597.3957</c:v>
                </c:pt>
                <c:pt idx="1">
                  <c:v>701.9871</c:v>
                </c:pt>
                <c:pt idx="2">
                  <c:v>680.01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La Roche-Posay</c:v>
                </c:pt>
                <c:pt idx="2">
                  <c:v>Vichy</c:v>
                </c:pt>
                <c:pt idx="3">
                  <c:v>Others Marca Unif.</c:v>
                </c:pt>
              </c:strCache>
            </c:strRef>
          </c:cat>
          <c:val>
            <c:numRef>
              <c:f>Sheet1!$D$2:$D$5</c:f>
              <c:numCache>
                <c:formatCode>General</c:formatCode>
                <c:ptCount val="4"/>
                <c:pt idx="2">
                  <c:v>619.657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La Roche-Posay</c:v>
                </c:pt>
                <c:pt idx="2">
                  <c:v>Vichy</c:v>
                </c:pt>
                <c:pt idx="3">
                  <c:v>Others Marca Unif.</c:v>
                </c:pt>
              </c:strCache>
            </c:strRef>
          </c:cat>
          <c:val>
            <c:numRef>
              <c:f>Sheet1!$E$2:$E$5</c:f>
              <c:numCache>
                <c:formatCode>General</c:formatCode>
                <c:ptCount val="4"/>
                <c:pt idx="1">
                  <c:v>461.399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B$2:$B$10</c:f>
              <c:numCache>
                <c:formatCode>General</c:formatCode>
                <c:ptCount val="9"/>
                <c:pt idx="0">
                  <c:v>224.51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C$2:$C$10</c:f>
              <c:numCache>
                <c:formatCode>General</c:formatCode>
                <c:ptCount val="9"/>
                <c:pt idx="4">
                  <c:v>142.6381</c:v>
                </c:pt>
                <c:pt idx="6">
                  <c:v>435.11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D$2:$D$10</c:f>
              <c:numCache>
                <c:formatCode>General</c:formatCode>
                <c:ptCount val="9"/>
                <c:pt idx="2">
                  <c:v>581.4759</c:v>
                </c:pt>
                <c:pt idx="8">
                  <c:v>298.34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E$2:$E$10</c:f>
              <c:numCache>
                <c:formatCode>General</c:formatCode>
                <c:ptCount val="9"/>
                <c:pt idx="0">
                  <c:v>304.4295</c:v>
                </c:pt>
                <c:pt idx="2">
                  <c:v>620.7159</c:v>
                </c:pt>
                <c:pt idx="3">
                  <c:v>668.77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F$2:$F$10</c:f>
              <c:numCache>
                <c:formatCode>General</c:formatCode>
                <c:ptCount val="9"/>
                <c:pt idx="5">
                  <c:v>845.2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G$2:$G$10</c:f>
              <c:numCache>
                <c:formatCode>General</c:formatCode>
                <c:ptCount val="9"/>
                <c:pt idx="7">
                  <c:v>765.53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H$2:$H$10</c:f>
              <c:numCache>
                <c:formatCode>General</c:formatCode>
                <c:ptCount val="9"/>
                <c:pt idx="0">
                  <c:v>306.6436</c:v>
                </c:pt>
                <c:pt idx="4">
                  <c:v>377.6597</c:v>
                </c:pt>
                <c:pt idx="7">
                  <c:v>561.31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I$2:$I$10</c:f>
              <c:numCache>
                <c:formatCode>General</c:formatCode>
                <c:ptCount val="9"/>
                <c:pt idx="1">
                  <c:v>583.7022</c:v>
                </c:pt>
                <c:pt idx="2">
                  <c:v>505.0382</c:v>
                </c:pt>
                <c:pt idx="3">
                  <c:v>589.9804</c:v>
                </c:pt>
                <c:pt idx="5">
                  <c:v>608.7547</c:v>
                </c:pt>
                <c:pt idx="7">
                  <c:v>622.19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Avene</c:v>
                </c:pt>
                <c:pt idx="3">
                  <c:v>Eucerin</c:v>
                </c:pt>
                <c:pt idx="4">
                  <c:v>Others Marca Unif.</c:v>
                </c:pt>
                <c:pt idx="5">
                  <c:v>La Roche-Posay</c:v>
                </c:pt>
                <c:pt idx="6">
                  <c:v>Eclipsol</c:v>
                </c:pt>
                <c:pt idx="7">
                  <c:v>Vichy</c:v>
                </c:pt>
                <c:pt idx="8">
                  <c:v>Cicatricure</c:v>
                </c:pt>
              </c:strCache>
            </c:strRef>
          </c:cat>
          <c:val>
            <c:numRef>
              <c:f>Sheet1!$J$2:$J$10</c:f>
              <c:numCache>
                <c:formatCode>General</c:formatCode>
                <c:ptCount val="9"/>
                <c:pt idx="4">
                  <c:v>118.896</c:v>
                </c:pt>
                <c:pt idx="6">
                  <c:v>251.739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a Roche-Posay</c:v>
                </c:pt>
                <c:pt idx="1">
                  <c:v>Isdin</c:v>
                </c:pt>
                <c:pt idx="2">
                  <c:v>Avene</c:v>
                </c:pt>
                <c:pt idx="3">
                  <c:v>Eucerin</c:v>
                </c:pt>
                <c:pt idx="4">
                  <c:v>Photoderm</c:v>
                </c:pt>
                <c:pt idx="5">
                  <c:v>All Others</c:v>
                </c:pt>
                <c:pt idx="6">
                  <c:v>Others Marca Unif.</c:v>
                </c:pt>
              </c:strCache>
            </c:strRef>
          </c:cat>
          <c:val>
            <c:numRef>
              <c:f>Sheet1!$B$2:$B$8</c:f>
              <c:numCache>
                <c:formatCode>General</c:formatCode>
                <c:ptCount val="7"/>
                <c:pt idx="2">
                  <c:v>543.2395</c:v>
                </c:pt>
                <c:pt idx="4">
                  <c:v>369.12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a Roche-Posay</c:v>
                </c:pt>
                <c:pt idx="1">
                  <c:v>Isdin</c:v>
                </c:pt>
                <c:pt idx="2">
                  <c:v>Avene</c:v>
                </c:pt>
                <c:pt idx="3">
                  <c:v>Eucerin</c:v>
                </c:pt>
                <c:pt idx="4">
                  <c:v>Photoderm</c:v>
                </c:pt>
                <c:pt idx="5">
                  <c:v>All Others</c:v>
                </c:pt>
                <c:pt idx="6">
                  <c:v>Others Marca Unif.</c:v>
                </c:pt>
              </c:strCache>
            </c:strRef>
          </c:cat>
          <c:val>
            <c:numRef>
              <c:f>Sheet1!$C$2:$C$8</c:f>
              <c:numCache>
                <c:formatCode>General</c:formatCode>
                <c:ptCount val="7"/>
                <c:pt idx="0">
                  <c:v>551.9562</c:v>
                </c:pt>
                <c:pt idx="1">
                  <c:v>580.106</c:v>
                </c:pt>
                <c:pt idx="2">
                  <c:v>531.5041</c:v>
                </c:pt>
                <c:pt idx="3">
                  <c:v>524.2492</c:v>
                </c:pt>
                <c:pt idx="5">
                  <c:v>559.6799</c:v>
                </c:pt>
                <c:pt idx="6">
                  <c:v>509.72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Eucerin</c:v>
                </c:pt>
                <c:pt idx="2">
                  <c:v>La Roche-Posay</c:v>
                </c:pt>
                <c:pt idx="3">
                  <c:v>Photoderm</c:v>
                </c:pt>
                <c:pt idx="4">
                  <c:v>Cetaphil</c:v>
                </c:pt>
                <c:pt idx="5">
                  <c:v>Others Marca Unif.</c:v>
                </c:pt>
              </c:strCache>
            </c:strRef>
          </c:cat>
          <c:val>
            <c:numRef>
              <c:f>Sheet1!$B$2:$B$7</c:f>
              <c:numCache>
                <c:formatCode>General</c:formatCode>
                <c:ptCount val="6"/>
                <c:pt idx="4">
                  <c:v>467.9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Eucerin</c:v>
                </c:pt>
                <c:pt idx="2">
                  <c:v>La Roche-Posay</c:v>
                </c:pt>
                <c:pt idx="3">
                  <c:v>Photoderm</c:v>
                </c:pt>
                <c:pt idx="4">
                  <c:v>Cetaphil</c:v>
                </c:pt>
                <c:pt idx="5">
                  <c:v>Others Marca Unif.</c:v>
                </c:pt>
              </c:strCache>
            </c:strRef>
          </c:cat>
          <c:val>
            <c:numRef>
              <c:f>Sheet1!$C$2:$C$7</c:f>
              <c:numCache>
                <c:formatCode>General</c:formatCode>
                <c:ptCount val="6"/>
                <c:pt idx="0">
                  <c:v>598.09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Eucerin</c:v>
                </c:pt>
                <c:pt idx="2">
                  <c:v>La Roche-Posay</c:v>
                </c:pt>
                <c:pt idx="3">
                  <c:v>Photoderm</c:v>
                </c:pt>
                <c:pt idx="4">
                  <c:v>Cetaphil</c:v>
                </c:pt>
                <c:pt idx="5">
                  <c:v>Others Marca Unif.</c:v>
                </c:pt>
              </c:strCache>
            </c:strRef>
          </c:cat>
          <c:val>
            <c:numRef>
              <c:f>Sheet1!$D$2:$D$7</c:f>
              <c:numCache>
                <c:formatCode>General</c:formatCode>
                <c:ptCount val="6"/>
                <c:pt idx="3">
                  <c:v>567.20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Eucerin</c:v>
                </c:pt>
                <c:pt idx="2">
                  <c:v>La Roche-Posay</c:v>
                </c:pt>
                <c:pt idx="3">
                  <c:v>Photoderm</c:v>
                </c:pt>
                <c:pt idx="4">
                  <c:v>Cetaphil</c:v>
                </c:pt>
                <c:pt idx="5">
                  <c:v>Others Marca Unif.</c:v>
                </c:pt>
              </c:strCache>
            </c:strRef>
          </c:cat>
          <c:val>
            <c:numRef>
              <c:f>Sheet1!$E$2:$E$7</c:f>
              <c:numCache>
                <c:formatCode>General</c:formatCode>
                <c:ptCount val="6"/>
                <c:pt idx="0">
                  <c:v>405.539</c:v>
                </c:pt>
                <c:pt idx="1">
                  <c:v>552.8798</c:v>
                </c:pt>
                <c:pt idx="2">
                  <c:v>539.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Eucerin</c:v>
                </c:pt>
                <c:pt idx="2">
                  <c:v>La Roche-Posay</c:v>
                </c:pt>
                <c:pt idx="3">
                  <c:v>Photoderm</c:v>
                </c:pt>
                <c:pt idx="4">
                  <c:v>Cetaphil</c:v>
                </c:pt>
                <c:pt idx="5">
                  <c:v>Others Marca Unif.</c:v>
                </c:pt>
              </c:strCache>
            </c:strRef>
          </c:cat>
          <c:val>
            <c:numRef>
              <c:f>Sheet1!$F$2:$F$7</c:f>
              <c:numCache>
                <c:formatCode>General</c:formatCode>
                <c:ptCount val="6"/>
                <c:pt idx="5">
                  <c:v>515.538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567.29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627.2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41.468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B$2:$B$10</c:f>
              <c:numCache>
                <c:formatCode>General</c:formatCode>
                <c:ptCount val="9"/>
                <c:pt idx="1">
                  <c:v>574.6985</c:v>
                </c:pt>
                <c:pt idx="4">
                  <c:v>460.679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C$2:$C$10</c:f>
              <c:numCache>
                <c:formatCode>General</c:formatCode>
                <c:ptCount val="9"/>
                <c:pt idx="5">
                  <c:v>590.63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D$2:$D$10</c:f>
              <c:numCache>
                <c:formatCode>General</c:formatCode>
                <c:ptCount val="9"/>
                <c:pt idx="6">
                  <c:v>328.99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E$2:$E$10</c:f>
              <c:numCache>
                <c:formatCode>General</c:formatCode>
                <c:ptCount val="9"/>
                <c:pt idx="2">
                  <c:v>534.4027</c:v>
                </c:pt>
                <c:pt idx="4">
                  <c:v>512.74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F$2:$F$10</c:f>
              <c:numCache>
                <c:formatCode>General</c:formatCode>
                <c:ptCount val="9"/>
                <c:pt idx="2">
                  <c:v>663.9435</c:v>
                </c:pt>
                <c:pt idx="7">
                  <c:v>675.50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G$2:$G$10</c:f>
              <c:numCache>
                <c:formatCode>General</c:formatCode>
                <c:ptCount val="9"/>
                <c:pt idx="3">
                  <c:v>873.4263</c:v>
                </c:pt>
                <c:pt idx="8">
                  <c:v>449.58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H$2:$H$10</c:f>
              <c:numCache>
                <c:formatCode>General</c:formatCode>
                <c:ptCount val="9"/>
                <c:pt idx="0">
                  <c:v>247.20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I$2:$I$10</c:f>
              <c:numCache>
                <c:formatCode>General</c:formatCode>
                <c:ptCount val="9"/>
                <c:pt idx="1">
                  <c:v>677.7383</c:v>
                </c:pt>
                <c:pt idx="3">
                  <c:v>571.87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oreal Paris</c:v>
                </c:pt>
                <c:pt idx="1">
                  <c:v>Isdin</c:v>
                </c:pt>
                <c:pt idx="2">
                  <c:v>Eucerin</c:v>
                </c:pt>
                <c:pt idx="3">
                  <c:v>La Roche-Posay</c:v>
                </c:pt>
                <c:pt idx="4">
                  <c:v>Cetaphil</c:v>
                </c:pt>
                <c:pt idx="5">
                  <c:v>Others Marca Unif.</c:v>
                </c:pt>
                <c:pt idx="6">
                  <c:v>Eclipsol</c:v>
                </c:pt>
                <c:pt idx="7">
                  <c:v>Vichy</c:v>
                </c:pt>
                <c:pt idx="8">
                  <c:v>Avene</c:v>
                </c:pt>
              </c:strCache>
            </c:strRef>
          </c:cat>
          <c:val>
            <c:numRef>
              <c:f>Sheet1!$J$2:$J$10</c:f>
              <c:numCache>
                <c:formatCode>General</c:formatCode>
                <c:ptCount val="9"/>
                <c:pt idx="3">
                  <c:v>414.778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La Roche-Posay</c:v>
                </c:pt>
                <c:pt idx="2">
                  <c:v>Eclipsol</c:v>
                </c:pt>
              </c:strCache>
            </c:strRef>
          </c:cat>
          <c:val>
            <c:numRef>
              <c:f>Sheet1!$B$2:$B$4</c:f>
              <c:numCache>
                <c:formatCode>General</c:formatCode>
                <c:ptCount val="3"/>
                <c:pt idx="0">
                  <c:v>569.355</c:v>
                </c:pt>
                <c:pt idx="1">
                  <c:v>665.43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La Roche-Posay</c:v>
                </c:pt>
                <c:pt idx="2">
                  <c:v>Eclipsol</c:v>
                </c:pt>
              </c:strCache>
            </c:strRef>
          </c:cat>
          <c:val>
            <c:numRef>
              <c:f>Sheet1!$C$2:$C$4</c:f>
              <c:numCache>
                <c:formatCode>General</c:formatCode>
                <c:ptCount val="3"/>
                <c:pt idx="0">
                  <c:v>634.7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La Roche-Posay</c:v>
                </c:pt>
                <c:pt idx="2">
                  <c:v>Eclipsol</c:v>
                </c:pt>
              </c:strCache>
            </c:strRef>
          </c:cat>
          <c:val>
            <c:numRef>
              <c:f>Sheet1!$D$2:$D$4</c:f>
              <c:numCache>
                <c:formatCode>General</c:formatCode>
                <c:ptCount val="3"/>
                <c:pt idx="2">
                  <c:v>246.70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La Roche-Posay</c:v>
                </c:pt>
                <c:pt idx="2">
                  <c:v>Eclipsol</c:v>
                </c:pt>
              </c:strCache>
            </c:strRef>
          </c:cat>
          <c:val>
            <c:numRef>
              <c:f>Sheet1!$E$2:$E$4</c:f>
              <c:numCache>
                <c:formatCode>General</c:formatCode>
                <c:ptCount val="3"/>
                <c:pt idx="1">
                  <c:v>474.939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Photoderm</c:v>
                </c:pt>
                <c:pt idx="1">
                  <c:v>La Roche-Posay</c:v>
                </c:pt>
                <c:pt idx="2">
                  <c:v>Genove</c:v>
                </c:pt>
              </c:strCache>
            </c:strRef>
          </c:cat>
          <c:val>
            <c:numRef>
              <c:f>Sheet1!$B$2:$B$4</c:f>
              <c:numCache>
                <c:formatCode>General</c:formatCode>
                <c:ptCount val="3"/>
                <c:pt idx="2">
                  <c:v>718.29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C$2:$C$4</c:f>
              <c:numCache>
                <c:formatCode>General</c:formatCode>
                <c:ptCount val="3"/>
                <c:pt idx="0">
                  <c:v>561.51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D$2:$D$4</c:f>
              <c:numCache>
                <c:formatCode>General</c:formatCode>
                <c:ptCount val="3"/>
                <c:pt idx="0">
                  <c:v>809.6862</c:v>
                </c:pt>
                <c:pt idx="1">
                  <c:v>539.44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Photoderm</c:v>
                </c:pt>
                <c:pt idx="1">
                  <c:v>La Roche-Posay</c:v>
                </c:pt>
                <c:pt idx="2">
                  <c:v>Genove</c:v>
                </c:pt>
              </c:strCache>
            </c:strRef>
          </c:cat>
          <c:val>
            <c:numRef>
              <c:f>Sheet1!$E$2:$E$4</c:f>
              <c:numCache>
                <c:formatCode>General</c:formatCode>
                <c:ptCount val="3"/>
                <c:pt idx="0">
                  <c:v>666.23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Photoderm</c:v>
                </c:pt>
                <c:pt idx="1">
                  <c:v>La Roche-Posay</c:v>
                </c:pt>
                <c:pt idx="2">
                  <c:v>Genove</c:v>
                </c:pt>
              </c:strCache>
            </c:strRef>
          </c:cat>
          <c:val>
            <c:numRef>
              <c:f>Sheet1!$F$2:$F$4</c:f>
              <c:numCache>
                <c:formatCode>General</c:formatCode>
                <c:ptCount val="3"/>
                <c:pt idx="0">
                  <c:v>829.071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428.66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Caribbean Beach</c:v>
                </c:pt>
                <c:pt idx="2">
                  <c:v>Others Marca Unif.</c:v>
                </c:pt>
              </c:strCache>
            </c:strRef>
          </c:cat>
          <c:val>
            <c:numRef>
              <c:f>Sheet1!$B$2:$B$4</c:f>
              <c:numCache>
                <c:formatCode>General</c:formatCode>
                <c:ptCount val="3"/>
                <c:pt idx="2">
                  <c:v>74.59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Caribbean Beach</c:v>
                </c:pt>
                <c:pt idx="2">
                  <c:v>Others Marca Unif.</c:v>
                </c:pt>
              </c:strCache>
            </c:strRef>
          </c:cat>
          <c:val>
            <c:numRef>
              <c:f>Sheet1!$C$2:$C$4</c:f>
              <c:numCache>
                <c:formatCode>General</c:formatCode>
                <c:ptCount val="3"/>
                <c:pt idx="1">
                  <c:v>110.9043</c:v>
                </c:pt>
                <c:pt idx="2">
                  <c:v>106.6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aribbean Beach</c:v>
                </c:pt>
                <c:pt idx="2">
                  <c:v>Others Marca Unif.</c:v>
                </c:pt>
              </c:strCache>
            </c:strRef>
          </c:cat>
          <c:val>
            <c:numRef>
              <c:f>Sheet1!$D$2:$D$4</c:f>
              <c:numCache>
                <c:formatCode>General</c:formatCode>
                <c:ptCount val="3"/>
                <c:pt idx="0">
                  <c:v>249.10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Caribbean Beach</c:v>
                </c:pt>
                <c:pt idx="2">
                  <c:v>Others Marca Unif.</c:v>
                </c:pt>
              </c:strCache>
            </c:strRef>
          </c:cat>
          <c:val>
            <c:numRef>
              <c:f>Sheet1!$E$2:$E$4</c:f>
              <c:numCache>
                <c:formatCode>General</c:formatCode>
                <c:ptCount val="3"/>
                <c:pt idx="2">
                  <c:v>106.90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6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Caribbean Beach</c:v>
                </c:pt>
                <c:pt idx="2">
                  <c:v>Others Marca Unif.</c:v>
                </c:pt>
              </c:strCache>
            </c:strRef>
          </c:cat>
          <c:val>
            <c:numRef>
              <c:f>Sheet1!$F$2:$F$4</c:f>
              <c:numCache>
                <c:formatCode>General</c:formatCode>
                <c:ptCount val="3"/>
                <c:pt idx="0">
                  <c:v>244.8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Caribbean Beach</c:v>
                </c:pt>
                <c:pt idx="2">
                  <c:v>Others Marca Unif.</c:v>
                </c:pt>
              </c:strCache>
            </c:strRef>
          </c:cat>
          <c:val>
            <c:numRef>
              <c:f>Sheet1!$G$2:$G$4</c:f>
              <c:numCache>
                <c:formatCode>General</c:formatCode>
                <c:ptCount val="3"/>
                <c:pt idx="1">
                  <c:v>148.12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Caribbean Beach</c:v>
                </c:pt>
                <c:pt idx="2">
                  <c:v>Others Marca Unif.</c:v>
                </c:pt>
              </c:strCache>
            </c:strRef>
          </c:cat>
          <c:val>
            <c:numRef>
              <c:f>Sheet1!$H$2:$H$4</c:f>
              <c:numCache>
                <c:formatCode>General</c:formatCode>
                <c:ptCount val="3"/>
                <c:pt idx="1">
                  <c:v>32.897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2</a:t>
                    </a:r>
                  </a:p>
                </c:rich>
              </c:tx>
              <c:dLblPos val="t"/>
              <c:showLegendKey val="0"/>
              <c:showVal val="1"/>
              <c:showCatName val="0"/>
              <c:showSerName val="0"/>
              <c:showPercent val="0"/>
              <c:showBubbleSize val="0"/>
            </c:dLbl>
            <c:dLbl>
              <c:idx val="1"/>
              <c:tx>
                <c:rich>
                  <a:bodyPr/>
                  <a:lstStyle/>
                  <a:p>
                    <a:r>
                      <a:t>317.39</a:t>
                    </a:r>
                  </a:p>
                </c:rich>
              </c:tx>
              <c:dLblPos val="t"/>
              <c:showLegendKey val="0"/>
              <c:showVal val="1"/>
              <c:showCatName val="0"/>
              <c:showSerName val="0"/>
              <c:showPercent val="0"/>
              <c:showBubbleSize val="0"/>
            </c:dLbl>
            <c:dLbl>
              <c:idx val="2"/>
              <c:tx>
                <c:rich>
                  <a:bodyPr/>
                  <a:lstStyle/>
                  <a:p>
                    <a:r>
                      <a:t>88.43</a:t>
                    </a:r>
                  </a:p>
                </c:rich>
              </c:tx>
              <c:dLblPos val="t"/>
              <c:showLegendKey val="0"/>
              <c:showVal val="1"/>
              <c:showCatName val="0"/>
              <c:showSerName val="0"/>
              <c:showPercent val="0"/>
              <c:showBubbleSize val="0"/>
            </c:dLbl>
            <c:dLbl>
              <c:idx val="3"/>
              <c:tx>
                <c:rich>
                  <a:bodyPr/>
                  <a:lstStyle/>
                  <a:p>
                    <a:r>
                      <a:t>254.68</a:t>
                    </a:r>
                  </a:p>
                </c:rich>
              </c:tx>
              <c:dLblPos val="t"/>
              <c:showLegendKey val="0"/>
              <c:showVal val="1"/>
              <c:showCatName val="0"/>
              <c:showSerName val="0"/>
              <c:showPercent val="0"/>
              <c:showBubbleSize val="0"/>
            </c:dLbl>
            <c:dLbl>
              <c:idx val="4"/>
              <c:tx>
                <c:rich>
                  <a:bodyPr/>
                  <a:lstStyle/>
                  <a:p>
                    <a:r>
                      <a:t>269.13</a:t>
                    </a:r>
                  </a:p>
                </c:rich>
              </c:tx>
              <c:dLblPos val="t"/>
              <c:showLegendKey val="0"/>
              <c:showVal val="1"/>
              <c:showCatName val="0"/>
              <c:showSerName val="0"/>
              <c:showPercent val="0"/>
              <c:showBubbleSize val="0"/>
            </c:dLbl>
            <c:dLbl>
              <c:idx val="5"/>
              <c:tx>
                <c:rich>
                  <a:bodyPr/>
                  <a:lstStyle/>
                  <a:p>
                    <a:r>
                      <a:t>355.95</a:t>
                    </a:r>
                  </a:p>
                </c:rich>
              </c:tx>
              <c:dLblPos val="t"/>
              <c:showLegendKey val="0"/>
              <c:showVal val="1"/>
              <c:showCatName val="0"/>
              <c:showSerName val="0"/>
              <c:showPercent val="0"/>
              <c:showBubbleSize val="0"/>
            </c:dLbl>
            <c:dLbl>
              <c:idx val="6"/>
              <c:tx>
                <c:rich>
                  <a:bodyPr/>
                  <a:lstStyle/>
                  <a:p>
                    <a:r>
                      <a:t>336.9</a:t>
                    </a:r>
                  </a:p>
                </c:rich>
              </c:tx>
              <c:dLblPos val="t"/>
              <c:showLegendKey val="0"/>
              <c:showVal val="1"/>
              <c:showCatName val="0"/>
              <c:showSerName val="0"/>
              <c:showPercent val="0"/>
              <c:showBubbleSize val="0"/>
            </c:dLbl>
            <c:dLbl>
              <c:idx val="7"/>
              <c:tx>
                <c:rich>
                  <a:bodyPr/>
                  <a:lstStyle/>
                  <a:p>
                    <a:r>
                      <a:t>330.14</a:t>
                    </a:r>
                  </a:p>
                </c:rich>
              </c:tx>
              <c:dLblPos val="t"/>
              <c:showLegendKey val="0"/>
              <c:showVal val="1"/>
              <c:showCatName val="0"/>
              <c:showSerName val="0"/>
              <c:showPercent val="0"/>
              <c:showBubbleSize val="0"/>
            </c:dLbl>
            <c:dLbl>
              <c:idx val="8"/>
              <c:tx>
                <c:rich>
                  <a:bodyPr/>
                  <a:lstStyle/>
                  <a:p>
                    <a:r>
                      <a:t>303.99</a:t>
                    </a:r>
                  </a:p>
                </c:rich>
              </c:tx>
              <c:dLblPos val="t"/>
              <c:showLegendKey val="0"/>
              <c:showVal val="1"/>
              <c:showCatName val="0"/>
              <c:showSerName val="0"/>
              <c:showPercent val="0"/>
              <c:showBubbleSize val="0"/>
            </c:dLbl>
            <c:dLbl>
              <c:idx val="9"/>
              <c:tx>
                <c:rich>
                  <a:bodyPr/>
                  <a:lstStyle/>
                  <a:p>
                    <a:r>
                      <a:t>311.72</a:t>
                    </a:r>
                  </a:p>
                </c:rich>
              </c:tx>
              <c:dLblPos val="t"/>
              <c:showLegendKey val="0"/>
              <c:showVal val="1"/>
              <c:showCatName val="0"/>
              <c:showSerName val="0"/>
              <c:showPercent val="0"/>
              <c:showBubbleSize val="0"/>
            </c:dLbl>
            <c:dLbl>
              <c:idx val="10"/>
              <c:tx>
                <c:rich>
                  <a:bodyPr/>
                  <a:lstStyle/>
                  <a:p>
                    <a:r>
                      <a:t>290.72</a:t>
                    </a:r>
                  </a:p>
                </c:rich>
              </c:tx>
              <c:dLblPos val="t"/>
              <c:showLegendKey val="0"/>
              <c:showVal val="1"/>
              <c:showCatName val="0"/>
              <c:showSerName val="0"/>
              <c:showPercent val="0"/>
              <c:showBubbleSize val="0"/>
            </c:dLbl>
            <c:dLbl>
              <c:idx val="11"/>
              <c:tx>
                <c:rich>
                  <a:bodyPr/>
                  <a:lstStyle/>
                  <a:p>
                    <a:r>
                      <a:t>276.49</a:t>
                    </a:r>
                  </a:p>
                </c:rich>
              </c:tx>
              <c:dLblPos val="t"/>
              <c:showLegendKey val="0"/>
              <c:showVal val="1"/>
              <c:showCatName val="0"/>
              <c:showSerName val="0"/>
              <c:showPercent val="0"/>
              <c:showBubbleSize val="0"/>
            </c:dLbl>
            <c:dLbl>
              <c:idx val="12"/>
              <c:tx>
                <c:rich>
                  <a:bodyPr/>
                  <a:lstStyle/>
                  <a:p>
                    <a:r>
                      <a:t>325.13</a:t>
                    </a:r>
                  </a:p>
                </c:rich>
              </c:tx>
              <c:dLblPos val="t"/>
              <c:showLegendKey val="0"/>
              <c:showVal val="1"/>
              <c:showCatName val="0"/>
              <c:showSerName val="0"/>
              <c:showPercent val="0"/>
              <c:showBubbleSize val="0"/>
            </c:dLbl>
            <c:dLbl>
              <c:idx val="13"/>
              <c:tx>
                <c:rich>
                  <a:bodyPr/>
                  <a:lstStyle/>
                  <a:p>
                    <a:r>
                      <a:t>333.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180Ml</c:v>
                </c:pt>
                <c:pt idx="4">
                  <c:v>Edgewell Banana Boat Banded Pack Banded Pack 2X Sunscreen Multi 50+ 236Ml</c:v>
                </c:pt>
                <c:pt idx="5">
                  <c:v>Edgewell Banana Boat Banded Pack Banded Pack 2X Sunscreen Multi 50+ 170Ml</c:v>
                </c:pt>
                <c:pt idx="6">
                  <c:v>Edgewell Banana Boat Mineral Sunscreen Kids Cosmetics Locion 50 180Ml</c:v>
                </c:pt>
                <c:pt idx="7">
                  <c:v>Edgewell Banana Boat Mineral Sunscreen Adults Cosmetics Locion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Mineral Sunscreen Adults Sport Locion 50 180Ml</c:v>
                </c:pt>
                <c:pt idx="13">
                  <c:v>Edgewell Banana Boat Dry Balance Sunscreen Adults Sport Spray Liquido 50 220Ml</c:v>
                </c:pt>
              </c:strCache>
            </c:strRef>
          </c:cat>
          <c:val>
            <c:numRef>
              <c:f>Sheet1!$B$2:$B$16</c:f>
              <c:numCache>
                <c:formatCode>General</c:formatCode>
                <c:ptCount val="15"/>
                <c:pt idx="0">
                  <c:v>310.2</c:v>
                </c:pt>
                <c:pt idx="1">
                  <c:v>317.39</c:v>
                </c:pt>
                <c:pt idx="2">
                  <c:v>88.43</c:v>
                </c:pt>
                <c:pt idx="3">
                  <c:v>254.68</c:v>
                </c:pt>
                <c:pt idx="4">
                  <c:v>269.13</c:v>
                </c:pt>
                <c:pt idx="5">
                  <c:v>355.95</c:v>
                </c:pt>
                <c:pt idx="6">
                  <c:v>336.9</c:v>
                </c:pt>
                <c:pt idx="7">
                  <c:v>330.14</c:v>
                </c:pt>
                <c:pt idx="8">
                  <c:v>303.99</c:v>
                </c:pt>
                <c:pt idx="9">
                  <c:v>311.72</c:v>
                </c:pt>
                <c:pt idx="10">
                  <c:v>290.72</c:v>
                </c:pt>
                <c:pt idx="11">
                  <c:v>276.49</c:v>
                </c:pt>
                <c:pt idx="12">
                  <c:v>325.13</c:v>
                </c:pt>
                <c:pt idx="13">
                  <c:v>333.98</c:v>
                </c:pt>
                <c:pt idx="14">
                  <c:v>316.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Banana Boat</c:v>
                </c:pt>
              </c:strCache>
            </c:strRef>
          </c:cat>
          <c:val>
            <c:numRef>
              <c:f>Sheet1!$B$2:$B$3</c:f>
              <c:numCache>
                <c:formatCode>General</c:formatCode>
                <c:ptCount val="2"/>
                <c:pt idx="1">
                  <c:v>272.41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C$2:$C$3</c:f>
              <c:numCache>
                <c:formatCode>General</c:formatCode>
                <c:ptCount val="2"/>
                <c:pt idx="1">
                  <c:v>256.61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D$2:$D$3</c:f>
              <c:numCache>
                <c:formatCode>General</c:formatCode>
                <c:ptCount val="2"/>
                <c:pt idx="0">
                  <c:v>277.9825</c:v>
                </c:pt>
                <c:pt idx="1">
                  <c:v>261.23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Banana Boat</c:v>
                </c:pt>
              </c:strCache>
            </c:strRef>
          </c:cat>
          <c:val>
            <c:numRef>
              <c:f>Sheet1!$E$2:$E$3</c:f>
              <c:numCache>
                <c:formatCode>General</c:formatCode>
                <c:ptCount val="2"/>
                <c:pt idx="0">
                  <c:v>256.58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Banana Boat</c:v>
                </c:pt>
              </c:strCache>
            </c:strRef>
          </c:cat>
          <c:val>
            <c:numRef>
              <c:f>Sheet1!$F$2:$F$3</c:f>
              <c:numCache>
                <c:formatCode>General</c:formatCode>
                <c:ptCount val="2"/>
                <c:pt idx="0">
                  <c:v>90.893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Banana Boat</c:v>
                </c:pt>
                <c:pt idx="1">
                  <c:v>Others Marca Unif.</c:v>
                </c:pt>
              </c:strCache>
            </c:strRef>
          </c:cat>
          <c:val>
            <c:numRef>
              <c:f>Sheet1!$B$2:$B$3</c:f>
              <c:numCache>
                <c:formatCode>General</c:formatCode>
                <c:ptCount val="2"/>
                <c:pt idx="1">
                  <c:v>399.4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Banana Boat</c:v>
                </c:pt>
                <c:pt idx="1">
                  <c:v>Others Marca Unif.</c:v>
                </c:pt>
              </c:strCache>
            </c:strRef>
          </c:cat>
          <c:val>
            <c:numRef>
              <c:f>Sheet1!$C$2:$C$3</c:f>
              <c:numCache>
                <c:formatCode>General</c:formatCode>
                <c:ptCount val="2"/>
                <c:pt idx="0">
                  <c:v>261.40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D$2:$D$3</c:f>
              <c:numCache>
                <c:formatCode>General</c:formatCode>
                <c:ptCount val="2"/>
                <c:pt idx="0">
                  <c:v>272.29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Banana Boat</c:v>
                </c:pt>
                <c:pt idx="1">
                  <c:v>Others Marca Unif.</c:v>
                </c:pt>
              </c:strCache>
            </c:strRef>
          </c:cat>
          <c:val>
            <c:numRef>
              <c:f>Sheet1!$E$2:$E$3</c:f>
              <c:numCache>
                <c:formatCode>General</c:formatCode>
                <c:ptCount val="2"/>
                <c:pt idx="0">
                  <c:v>82.120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3.38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Australian Gold</c:v>
                </c:pt>
                <c:pt idx="2">
                  <c:v>Ocean Potion</c:v>
                </c:pt>
                <c:pt idx="3">
                  <c:v>Others Marca Unif.</c:v>
                </c:pt>
              </c:strCache>
            </c:strRef>
          </c:cat>
          <c:val>
            <c:numRef>
              <c:f>Sheet1!$B$2:$B$5</c:f>
              <c:numCache>
                <c:formatCode>General</c:formatCode>
                <c:ptCount val="4"/>
                <c:pt idx="3">
                  <c:v>201.22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Australian Gold</c:v>
                </c:pt>
                <c:pt idx="2">
                  <c:v>Ocean Potion</c:v>
                </c:pt>
                <c:pt idx="3">
                  <c:v>Others Marca Unif.</c:v>
                </c:pt>
              </c:strCache>
            </c:strRef>
          </c:cat>
          <c:val>
            <c:numRef>
              <c:f>Sheet1!$C$2:$C$5</c:f>
              <c:numCache>
                <c:formatCode>General</c:formatCode>
                <c:ptCount val="4"/>
                <c:pt idx="2">
                  <c:v>320.19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Australian Gold</c:v>
                </c:pt>
                <c:pt idx="2">
                  <c:v>Ocean Potion</c:v>
                </c:pt>
                <c:pt idx="3">
                  <c:v>Others Marca Unif.</c:v>
                </c:pt>
              </c:strCache>
            </c:strRef>
          </c:cat>
          <c:val>
            <c:numRef>
              <c:f>Sheet1!$D$2:$D$5</c:f>
              <c:numCache>
                <c:formatCode>General</c:formatCode>
                <c:ptCount val="4"/>
                <c:pt idx="0">
                  <c:v>208.9428</c:v>
                </c:pt>
                <c:pt idx="1">
                  <c:v>393.69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eliocare</c:v>
                </c:pt>
              </c:strCache>
            </c:strRef>
          </c:cat>
          <c:val>
            <c:numRef>
              <c:f>Sheet1!$B$2:$B$2</c:f>
              <c:numCache>
                <c:formatCode>General</c:formatCode>
                <c:ptCount val="1"/>
                <c:pt idx="0">
                  <c:v>508.55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63.2381</c:v>
                </c:pt>
                <c:pt idx="3">
                  <c:v>197.24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2">
                  <c:v>139.987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1">
                  <c:v>182.4925</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0">
                  <c:v>174.771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0">
                  <c:v>271.4586</c:v>
                </c:pt>
                <c:pt idx="1">
                  <c:v>249.422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2">
                  <c:v>276.765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1">
                  <c:v>243.7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pt idx="1">
                  <c:v>266.5653</c:v>
                </c:pt>
                <c:pt idx="2">
                  <c:v>261.0556</c:v>
                </c:pt>
                <c:pt idx="3">
                  <c:v>522.289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0">
                  <c:v>275.494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pt idx="1">
                  <c:v>277.8749</c:v>
                </c:pt>
                <c:pt idx="2">
                  <c:v>273.7487</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pt idx="2">
                  <c:v>246.509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pt idx="1">
                  <c:v>264.1204</c:v>
                </c:pt>
                <c:pt idx="2">
                  <c:v>239.5329</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pt idx="1">
                  <c:v>38.1935</c:v>
                </c:pt>
                <c:pt idx="2">
                  <c:v>38.3008</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pt idx="0">
                  <c:v>263.086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B$2:$AB$5</c:f>
              <c:numCache>
                <c:formatCode>General</c:formatCode>
                <c:ptCount val="4"/>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C$2:$AC$5</c:f>
              <c:numCache>
                <c:formatCode>General</c:formatCode>
                <c:ptCount val="4"/>
                <c:pt idx="0">
                  <c:v>248.5054</c:v>
                </c:pt>
                <c:pt idx="1">
                  <c:v>231.5438</c:v>
                </c:pt>
                <c:pt idx="2">
                  <c:v>270.2126</c:v>
                </c:pt>
                <c:pt idx="3">
                  <c:v>208.5341</c:v>
                </c:pt>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D$2:$AD$5</c:f>
              <c:numCache>
                <c:formatCode>General</c:formatCode>
                <c:ptCount val="4"/>
                <c:pt idx="1">
                  <c:v>91.6395</c:v>
                </c:pt>
                <c:pt idx="2">
                  <c:v>84.8929</c:v>
                </c:pt>
              </c:numCache>
            </c:numRef>
          </c:val>
          <c:smooth val="0"/>
          <c:extLst>
            <c:ext xmlns:c16="http://schemas.microsoft.com/office/drawing/2014/chart" uri="{C3380CC4-5D6E-409C-BE32-E72D297353CC}">
              <c16:uniqueId val="{0000002B-47B4-4CC0-A4CC-244654BFF3D5}"/>
            </c:ext>
          </c:extLst>
        </c:ser>
        <c:ser>
          <c:idx val="30"/>
          <c:order val="28"/>
          <c:tx>
            <c:strRef>
              <c:f>Sheet1!$AE$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E$2:$AE$5</c:f>
              <c:numCache>
                <c:formatCode>General</c:formatCode>
                <c:ptCount val="4"/>
                <c:pt idx="2">
                  <c:v>206.1407</c:v>
                </c:pt>
              </c:numCache>
            </c:numRef>
          </c:val>
          <c:smooth val="0"/>
          <c:extLst>
            <c:ext xmlns:c16="http://schemas.microsoft.com/office/drawing/2014/chart" uri="{C3380CC4-5D6E-409C-BE32-E72D297353CC}">
              <c16:uniqueId val="{0000002B-47B4-4CC0-A4CC-244654BFF3D5}"/>
            </c:ext>
          </c:extLst>
        </c:ser>
        <c:ser>
          <c:idx val="31"/>
          <c:order val="29"/>
          <c:tx>
            <c:strRef>
              <c:f>Sheet1!$AF$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F$2:$AF$5</c:f>
              <c:numCache>
                <c:formatCode>General</c:formatCode>
                <c:ptCount val="4"/>
                <c:pt idx="1">
                  <c:v>97.114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67.6563</c:v>
                </c:pt>
                <c:pt idx="3">
                  <c:v>199.457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2">
                  <c:v>140.184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1">
                  <c:v>182.7601</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0">
                  <c:v>173.089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0">
                  <c:v>270.2144</c:v>
                </c:pt>
                <c:pt idx="1">
                  <c:v>252.938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2">
                  <c:v>281.022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1">
                  <c:v>246.50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pt idx="1">
                  <c:v>272.2186</c:v>
                </c:pt>
                <c:pt idx="2">
                  <c:v>264.3496</c:v>
                </c:pt>
                <c:pt idx="3">
                  <c:v>551.166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0">
                  <c:v>275.994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pt idx="1">
                  <c:v>284.361</c:v>
                </c:pt>
                <c:pt idx="2">
                  <c:v>274.953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pt idx="2">
                  <c:v>249.64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pt idx="1">
                  <c:v>265.9518</c:v>
                </c:pt>
                <c:pt idx="2">
                  <c:v>243.669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pt idx="2">
                  <c:v>5.0</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pt idx="0">
                  <c:v>262.664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B$2:$AB$5</c:f>
              <c:numCache>
                <c:formatCode>General</c:formatCode>
                <c:ptCount val="4"/>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C$2:$AC$5</c:f>
              <c:numCache>
                <c:formatCode>General</c:formatCode>
                <c:ptCount val="4"/>
                <c:pt idx="0">
                  <c:v>247.4402</c:v>
                </c:pt>
                <c:pt idx="1">
                  <c:v>234.5103</c:v>
                </c:pt>
                <c:pt idx="2">
                  <c:v>272.3561</c:v>
                </c:pt>
                <c:pt idx="3">
                  <c:v>208.892</c:v>
                </c:pt>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D$2:$AD$5</c:f>
              <c:numCache>
                <c:formatCode>General</c:formatCode>
                <c:ptCount val="4"/>
                <c:pt idx="1">
                  <c:v>92.5038</c:v>
                </c:pt>
                <c:pt idx="2">
                  <c:v>84.7342</c:v>
                </c:pt>
              </c:numCache>
            </c:numRef>
          </c:val>
          <c:smooth val="0"/>
          <c:extLst>
            <c:ext xmlns:c16="http://schemas.microsoft.com/office/drawing/2014/chart" uri="{C3380CC4-5D6E-409C-BE32-E72D297353CC}">
              <c16:uniqueId val="{0000002B-47B4-4CC0-A4CC-244654BFF3D5}"/>
            </c:ext>
          </c:extLst>
        </c:ser>
        <c:ser>
          <c:idx val="30"/>
          <c:order val="28"/>
          <c:tx>
            <c:strRef>
              <c:f>Sheet1!$AE$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E$2:$AE$5</c:f>
              <c:numCache>
                <c:formatCode>General</c:formatCode>
                <c:ptCount val="4"/>
                <c:pt idx="2">
                  <c:v>207.7195</c:v>
                </c:pt>
              </c:numCache>
            </c:numRef>
          </c:val>
          <c:smooth val="0"/>
          <c:extLst>
            <c:ext xmlns:c16="http://schemas.microsoft.com/office/drawing/2014/chart" uri="{C3380CC4-5D6E-409C-BE32-E72D297353CC}">
              <c16:uniqueId val="{0000002B-47B4-4CC0-A4CC-244654BFF3D5}"/>
            </c:ext>
          </c:extLst>
        </c:ser>
        <c:ser>
          <c:idx val="31"/>
          <c:order val="29"/>
          <c:tx>
            <c:strRef>
              <c:f>Sheet1!$AF$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F$2:$AF$5</c:f>
              <c:numCache>
                <c:formatCode>General</c:formatCode>
                <c:ptCount val="4"/>
                <c:pt idx="1">
                  <c:v>97.155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C$2:$C$5</c:f>
              <c:numCache>
                <c:formatCode>General</c:formatCode>
                <c:ptCount val="4"/>
                <c:pt idx="1">
                  <c:v>364.9119</c:v>
                </c:pt>
                <c:pt idx="3">
                  <c:v>39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E$2:$E$5</c:f>
              <c:numCache>
                <c:formatCode>General</c:formatCode>
                <c:ptCount val="4"/>
                <c:pt idx="0">
                  <c:v>489.36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F$2:$F$5</c:f>
              <c:numCache>
                <c:formatCode>General</c:formatCode>
                <c:ptCount val="4"/>
                <c:pt idx="2">
                  <c:v>361.22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G$2:$G$5</c:f>
              <c:numCache>
                <c:formatCode>General</c:formatCode>
                <c:ptCount val="4"/>
                <c:pt idx="1">
                  <c:v>182.863</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H$2:$H$5</c:f>
              <c:numCache>
                <c:formatCode>General</c:formatCode>
                <c:ptCount val="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I$2:$I$5</c:f>
              <c:numCache>
                <c:formatCode>General</c:formatCode>
                <c:ptCount val="4"/>
                <c:pt idx="1">
                  <c:v>263.842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J$2:$J$5</c:f>
              <c:numCache>
                <c:formatCode>General</c:formatCode>
                <c:ptCount val="4"/>
                <c:pt idx="2">
                  <c:v>322.296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K$2:$K$5</c:f>
              <c:numCache>
                <c:formatCode>General</c:formatCode>
                <c:ptCount val="4"/>
                <c:pt idx="1">
                  <c:v>247.3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M$2:$M$5</c:f>
              <c:numCache>
                <c:formatCode>General</c:formatCode>
                <c:ptCount val="4"/>
                <c:pt idx="1">
                  <c:v>291.4993</c:v>
                </c:pt>
                <c:pt idx="2">
                  <c:v>312.3822</c:v>
                </c:pt>
                <c:pt idx="3">
                  <c:v>551.166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N$2:$N$5</c:f>
              <c:numCache>
                <c:formatCode>General</c:formatCode>
                <c:ptCount val="4"/>
                <c:pt idx="0">
                  <c:v>650.676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O$2:$O$5</c:f>
              <c:numCache>
                <c:formatCode>General</c:formatCode>
                <c:ptCount val="4"/>
                <c:pt idx="1">
                  <c:v>303.9672</c:v>
                </c:pt>
                <c:pt idx="2">
                  <c:v>297.132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Q$2:$Q$5</c:f>
              <c:numCache>
                <c:formatCode>General</c:formatCode>
                <c:ptCount val="4"/>
                <c:pt idx="2">
                  <c:v>287.884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S$2:$S$5</c:f>
              <c:numCache>
                <c:formatCode>General</c:formatCode>
                <c:ptCount val="4"/>
                <c:pt idx="1">
                  <c:v>287.3443</c:v>
                </c:pt>
                <c:pt idx="2">
                  <c:v>279.21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T$2:$T$5</c:f>
              <c:numCache>
                <c:formatCode>General</c:formatCode>
                <c:ptCount val="4"/>
                <c:pt idx="0">
                  <c:v>643.716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2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V$2:$V$5</c:f>
              <c:numCache>
                <c:formatCode>General</c:formatCode>
                <c:ptCount val="4"/>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W$2:$W$5</c:f>
              <c:numCache>
                <c:formatCode>General</c:formatCode>
                <c:ptCount val="4"/>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Y$2:$Y$5</c:f>
              <c:numCache>
                <c:formatCode>General</c:formatCode>
                <c:ptCount val="4"/>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Z$2:$Z$5</c:f>
              <c:numCache>
                <c:formatCode>General</c:formatCode>
                <c:ptCount val="4"/>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A$2:$AA$5</c:f>
              <c:numCache>
                <c:formatCode>General</c:formatCode>
                <c:ptCount val="4"/>
                <c:pt idx="0">
                  <c:v>630.0928</c:v>
                </c:pt>
                <c:pt idx="1">
                  <c:v>340.8083</c:v>
                </c:pt>
                <c:pt idx="2">
                  <c:v>342.1964</c:v>
                </c:pt>
                <c:pt idx="3">
                  <c:v>277.0625</c:v>
                </c:pt>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B$2:$AB$5</c:f>
              <c:numCache>
                <c:formatCode>General</c:formatCode>
                <c:ptCount val="4"/>
                <c:pt idx="1">
                  <c:v>64.4328</c:v>
                </c:pt>
                <c:pt idx="2">
                  <c:v>69.1222</c:v>
                </c:pt>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C$2:$AC$5</c:f>
              <c:numCache>
                <c:formatCode>General</c:formatCode>
                <c:ptCount val="4"/>
                <c:pt idx="2">
                  <c:v>268.0921</c:v>
                </c:pt>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D$2:$AD$5</c:f>
              <c:numCache>
                <c:formatCode>General</c:formatCode>
                <c:ptCount val="4"/>
                <c:pt idx="1">
                  <c:v>123.728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C$2:$C$5</c:f>
              <c:numCache>
                <c:formatCode>General</c:formatCode>
                <c:ptCount val="4"/>
                <c:pt idx="3">
                  <c:v>205.8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D$2:$D$5</c:f>
              <c:numCache>
                <c:formatCode>General</c:formatCode>
                <c:ptCount val="4"/>
                <c:pt idx="2">
                  <c:v>156.23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E$2:$E$5</c:f>
              <c:numCache>
                <c:formatCode>General</c:formatCode>
                <c:ptCount val="4"/>
                <c:pt idx="0">
                  <c:v>169.53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F$2:$F$5</c:f>
              <c:numCache>
                <c:formatCode>General</c:formatCode>
                <c:ptCount val="4"/>
                <c:pt idx="0">
                  <c:v>280.43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G$2:$G$5</c:f>
              <c:numCache>
                <c:formatCode>General</c:formatCode>
                <c:ptCount val="4"/>
                <c:pt idx="1">
                  <c:v>283.307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H$2:$H$5</c:f>
              <c:numCache>
                <c:formatCode>General</c:formatCode>
                <c:ptCount val="4"/>
                <c:pt idx="1">
                  <c:v>210.1855</c:v>
                </c:pt>
                <c:pt idx="2">
                  <c:v>195.667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I$2:$I$5</c:f>
              <c:numCache>
                <c:formatCode>General</c:formatCode>
                <c:ptCount val="4"/>
                <c:pt idx="0">
                  <c:v>277.872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2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J$2:$J$5</c:f>
              <c:numCache>
                <c:formatCode>General</c:formatCode>
                <c:ptCount val="4"/>
                <c:pt idx="2">
                  <c:v>220.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36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K$2:$K$5</c:f>
              <c:numCache>
                <c:formatCode>General</c:formatCode>
                <c:ptCount val="4"/>
                <c:pt idx="1">
                  <c:v>241.74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L$2:$L$5</c:f>
              <c:numCache>
                <c:formatCode>General</c:formatCode>
                <c:ptCount val="4"/>
                <c:pt idx="1">
                  <c:v>157.9333</c:v>
                </c:pt>
                <c:pt idx="2">
                  <c:v>227.996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M$2:$M$5</c:f>
              <c:numCache>
                <c:formatCode>General</c:formatCode>
                <c:ptCount val="4"/>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N$2:$N$5</c:f>
              <c:numCache>
                <c:formatCode>General</c:formatCode>
                <c:ptCount val="4"/>
                <c:pt idx="0">
                  <c:v>254.46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O$2:$O$5</c:f>
              <c:numCache>
                <c:formatCode>General</c:formatCode>
                <c:ptCount val="4"/>
                <c:pt idx="0">
                  <c:v>231.357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P$2:$P$5</c:f>
              <c:numCache>
                <c:formatCode>General</c:formatCode>
                <c:ptCount val="4"/>
                <c:pt idx="1">
                  <c:v>120.8929</c:v>
                </c:pt>
                <c:pt idx="2">
                  <c:v>97.014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Q$2:$Q$5</c:f>
              <c:numCache>
                <c:formatCode>General</c:formatCode>
                <c:ptCount val="4"/>
                <c:pt idx="2">
                  <c:v>88.515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42.6011</c:v>
                </c:pt>
                <c:pt idx="3">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pt idx="2">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pt idx="1">
                  <c:v>182.769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0">
                  <c:v>175.094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0">
                  <c:v>253.576</c:v>
                </c:pt>
                <c:pt idx="1">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2">
                  <c:v>268.658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1">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1">
                  <c:v>268.1027</c:v>
                </c:pt>
                <c:pt idx="2">
                  <c:v>243.324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0">
                  <c:v>262.10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pt idx="1">
                  <c:v>270.0428</c:v>
                </c:pt>
                <c:pt idx="2">
                  <c:v>259.898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2">
                  <c:v>242.753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pt idx="1">
                  <c:v>257.9377</c:v>
                </c:pt>
                <c:pt idx="2">
                  <c:v>230.5525</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pt idx="2">
                  <c:v>5.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pt idx="0">
                  <c:v>245.858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pt idx="0">
                  <c:v>231.7299</c:v>
                </c:pt>
                <c:pt idx="1">
                  <c:v>222.5471</c:v>
                </c:pt>
                <c:pt idx="2">
                  <c:v>269.4524</c:v>
                </c:pt>
                <c:pt idx="3">
                  <c:v>206.8187</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pt idx="1">
                  <c:v>102.21</c:v>
                </c:pt>
                <c:pt idx="2">
                  <c:v>106.6671</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pt idx="2">
                  <c:v>204.058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pt idx="1">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9.06</a:t>
                    </a:r>
                  </a:p>
                </c:rich>
              </c:tx>
              <c:dLblPos val="t"/>
              <c:showLegendKey val="0"/>
              <c:showVal val="1"/>
              <c:showCatName val="0"/>
              <c:showSerName val="0"/>
              <c:showPercent val="0"/>
              <c:showBubbleSize val="0"/>
            </c:dLbl>
            <c:dLbl>
              <c:idx val="1"/>
              <c:tx>
                <c:rich>
                  <a:bodyPr/>
                  <a:lstStyle/>
                  <a:p>
                    <a:r>
                      <a:t>330.54</a:t>
                    </a:r>
                  </a:p>
                </c:rich>
              </c:tx>
              <c:dLblPos val="t"/>
              <c:showLegendKey val="0"/>
              <c:showVal val="1"/>
              <c:showCatName val="0"/>
              <c:showSerName val="0"/>
              <c:showPercent val="0"/>
              <c:showBubbleSize val="0"/>
            </c:dLbl>
            <c:dLbl>
              <c:idx val="2"/>
              <c:tx>
                <c:rich>
                  <a:bodyPr/>
                  <a:lstStyle/>
                  <a:p>
                    <a:r>
                      <a:t>91.75</a:t>
                    </a:r>
                  </a:p>
                </c:rich>
              </c:tx>
              <c:dLblPos val="t"/>
              <c:showLegendKey val="0"/>
              <c:showVal val="1"/>
              <c:showCatName val="0"/>
              <c:showSerName val="0"/>
              <c:showPercent val="0"/>
              <c:showBubbleSize val="0"/>
            </c:dLbl>
            <c:dLbl>
              <c:idx val="3"/>
              <c:tx>
                <c:rich>
                  <a:bodyPr/>
                  <a:lstStyle/>
                  <a:p>
                    <a:r>
                      <a:t>348.86</a:t>
                    </a:r>
                  </a:p>
                </c:rich>
              </c:tx>
              <c:dLblPos val="t"/>
              <c:showLegendKey val="0"/>
              <c:showVal val="1"/>
              <c:showCatName val="0"/>
              <c:showSerName val="0"/>
              <c:showPercent val="0"/>
              <c:showBubbleSize val="0"/>
            </c:dLbl>
            <c:dLbl>
              <c:idx val="4"/>
              <c:tx>
                <c:rich>
                  <a:bodyPr/>
                  <a:lstStyle/>
                  <a:p>
                    <a:r>
                      <a:t>359.59</a:t>
                    </a:r>
                  </a:p>
                </c:rich>
              </c:tx>
              <c:dLblPos val="t"/>
              <c:showLegendKey val="0"/>
              <c:showVal val="1"/>
              <c:showCatName val="0"/>
              <c:showSerName val="0"/>
              <c:showPercent val="0"/>
              <c:showBubbleSize val="0"/>
            </c:dLbl>
            <c:dLbl>
              <c:idx val="5"/>
              <c:tx>
                <c:rich>
                  <a:bodyPr/>
                  <a:lstStyle/>
                  <a:p>
                    <a:r>
                      <a:t>359.99</a:t>
                    </a:r>
                  </a:p>
                </c:rich>
              </c:tx>
              <c:dLblPos val="t"/>
              <c:showLegendKey val="0"/>
              <c:showVal val="1"/>
              <c:showCatName val="0"/>
              <c:showSerName val="0"/>
              <c:showPercent val="0"/>
              <c:showBubbleSize val="0"/>
            </c:dLbl>
            <c:dLbl>
              <c:idx val="6"/>
              <c:tx>
                <c:rich>
                  <a:bodyPr/>
                  <a:lstStyle/>
                  <a:p>
                    <a:r>
                      <a:t>413.7</a:t>
                    </a:r>
                  </a:p>
                </c:rich>
              </c:tx>
              <c:dLblPos val="t"/>
              <c:showLegendKey val="0"/>
              <c:showVal val="1"/>
              <c:showCatName val="0"/>
              <c:showSerName val="0"/>
              <c:showPercent val="0"/>
              <c:showBubbleSize val="0"/>
            </c:dLbl>
            <c:dLbl>
              <c:idx val="7"/>
              <c:tx>
                <c:rich>
                  <a:bodyPr/>
                  <a:lstStyle/>
                  <a:p>
                    <a:r>
                      <a:t>361.98</a:t>
                    </a:r>
                  </a:p>
                </c:rich>
              </c:tx>
              <c:dLblPos val="t"/>
              <c:showLegendKey val="0"/>
              <c:showVal val="1"/>
              <c:showCatName val="0"/>
              <c:showSerName val="0"/>
              <c:showPercent val="0"/>
              <c:showBubbleSize val="0"/>
            </c:dLbl>
            <c:dLbl>
              <c:idx val="8"/>
              <c:tx>
                <c:rich>
                  <a:bodyPr/>
                  <a:lstStyle/>
                  <a:p>
                    <a:r>
                      <a:t>358.05</a:t>
                    </a:r>
                  </a:p>
                </c:rich>
              </c:tx>
              <c:dLblPos val="t"/>
              <c:showLegendKey val="0"/>
              <c:showVal val="1"/>
              <c:showCatName val="0"/>
              <c:showSerName val="0"/>
              <c:showPercent val="0"/>
              <c:showBubbleSize val="0"/>
            </c:dLbl>
            <c:dLbl>
              <c:idx val="9"/>
              <c:tx>
                <c:rich>
                  <a:bodyPr/>
                  <a:lstStyle/>
                  <a:p>
                    <a:r>
                      <a:t>88.14</a:t>
                    </a:r>
                  </a:p>
                </c:rich>
              </c:tx>
              <c:dLblPos val="t"/>
              <c:showLegendKey val="0"/>
              <c:showVal val="1"/>
              <c:showCatName val="0"/>
              <c:showSerName val="0"/>
              <c:showPercent val="0"/>
              <c:showBubbleSize val="0"/>
            </c:dLbl>
            <c:dLbl>
              <c:idx val="10"/>
              <c:tx>
                <c:rich>
                  <a:bodyPr/>
                  <a:lstStyle/>
                  <a:p>
                    <a:r>
                      <a:t>329.19</a:t>
                    </a:r>
                  </a:p>
                </c:rich>
              </c:tx>
              <c:dLblPos val="t"/>
              <c:showLegendKey val="0"/>
              <c:showVal val="1"/>
              <c:showCatName val="0"/>
              <c:showSerName val="0"/>
              <c:showPercent val="0"/>
              <c:showBubbleSize val="0"/>
            </c:dLbl>
            <c:dLbl>
              <c:idx val="11"/>
              <c:tx>
                <c:rich>
                  <a:bodyPr/>
                  <a:lstStyle/>
                  <a:p>
                    <a:r>
                      <a:t>270.48</a:t>
                    </a:r>
                  </a:p>
                </c:rich>
              </c:tx>
              <c:dLblPos val="t"/>
              <c:showLegendKey val="0"/>
              <c:showVal val="1"/>
              <c:showCatName val="0"/>
              <c:showSerName val="0"/>
              <c:showPercent val="0"/>
              <c:showBubbleSize val="0"/>
            </c:dLbl>
            <c:dLbl>
              <c:idx val="12"/>
              <c:tx>
                <c:rich>
                  <a:bodyPr/>
                  <a:lstStyle/>
                  <a:p>
                    <a:r>
                      <a:t>341.27</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302.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Advanced Protection Sunscreen Adults Cosmetics Liquido 50+ 240Ml</c:v>
                </c:pt>
                <c:pt idx="2">
                  <c:v>Edgewell Banana Boat Advanced Protection Sunscreen Adults Cosmetics Liquido 50+ 60Ml</c:v>
                </c:pt>
                <c:pt idx="3">
                  <c:v>Edgewell Banana Boat Aqua Protect Sunscreen Adults Sport Crema 50+ 236Ml</c:v>
                </c:pt>
                <c:pt idx="4">
                  <c:v>Edgewell Banana Boat Dry Balance Sunscreen Adults Sport Crema 50+ 180Ml</c:v>
                </c:pt>
                <c:pt idx="5">
                  <c:v>Edgewell Banana Boat Mineral Sunscreen Kids Cosmetics Locion 50 180Ml</c:v>
                </c:pt>
                <c:pt idx="6">
                  <c:v>Edgewell Banana Boat Banded Pack Banded Pack 2X Sunscreen Multi 50+ 170Ml</c:v>
                </c:pt>
                <c:pt idx="7">
                  <c:v>Edgewell Banana Boat Mineral Sunscreen Adults Cosmetics Locion 50 180Ml</c:v>
                </c:pt>
                <c:pt idx="8">
                  <c:v>Edgewell Banana Boat Mineral Sunscreen Adults Sport Locion 50 180Ml</c:v>
                </c:pt>
                <c:pt idx="9">
                  <c:v>Edgewell Banana Boat Dry Balance Sunscreen Adults Sport Locion 50+ 60Ml</c:v>
                </c:pt>
                <c:pt idx="10">
                  <c:v>Edgewell Banana Boat Dry Balance Sunscreen Adults Sport Spray Liquido 50 220Ml</c:v>
                </c:pt>
                <c:pt idx="11">
                  <c:v>Edgewell Banana Boat Dry Balance Sunscreen Adults Cosmetics Spray Crema 50+ 220Ml</c:v>
                </c:pt>
                <c:pt idx="12">
                  <c:v>Edgewell Banana Boat Aqua Protect Sunscreen Adults Cosmetics Crema 50+ 236Ml</c:v>
                </c:pt>
                <c:pt idx="13">
                  <c:v>Edgewell Banana Boat Kids Sport Sunscreen Kids Cosmetics Crema 50 180Ml</c:v>
                </c:pt>
                <c:pt idx="14">
                  <c:v>Edgewell Banana Boat Dry Balance Sunscreen Adults Cosmetics Crema 50+ 180Ml</c:v>
                </c:pt>
              </c:strCache>
            </c:strRef>
          </c:cat>
          <c:val>
            <c:numRef>
              <c:f>Sheet1!$B$2:$B$16</c:f>
              <c:numCache>
                <c:formatCode>General</c:formatCode>
                <c:ptCount val="15"/>
                <c:pt idx="0">
                  <c:v>339.06</c:v>
                </c:pt>
                <c:pt idx="1">
                  <c:v>330.54</c:v>
                </c:pt>
                <c:pt idx="2">
                  <c:v>91.75</c:v>
                </c:pt>
                <c:pt idx="3">
                  <c:v>348.86</c:v>
                </c:pt>
                <c:pt idx="4">
                  <c:v>359.59</c:v>
                </c:pt>
                <c:pt idx="5">
                  <c:v>359.99</c:v>
                </c:pt>
                <c:pt idx="6">
                  <c:v>413.7</c:v>
                </c:pt>
                <c:pt idx="7">
                  <c:v>361.98</c:v>
                </c:pt>
                <c:pt idx="8">
                  <c:v>358.05</c:v>
                </c:pt>
                <c:pt idx="9">
                  <c:v>88.14</c:v>
                </c:pt>
                <c:pt idx="10">
                  <c:v>329.19</c:v>
                </c:pt>
                <c:pt idx="11">
                  <c:v>270.48</c:v>
                </c:pt>
                <c:pt idx="12">
                  <c:v>341.27</c:v>
                </c:pt>
                <c:pt idx="13">
                  <c:v>330.0</c:v>
                </c:pt>
                <c:pt idx="14">
                  <c:v>302.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C$2:$C$21</c:f>
              <c:numCache>
                <c:formatCode>General</c:formatCode>
                <c:ptCount val="20"/>
                <c:pt idx="3">
                  <c:v>263.2381</c:v>
                </c:pt>
                <c:pt idx="19">
                  <c:v>197.24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D$2:$D$21</c:f>
              <c:numCache>
                <c:formatCode>General</c:formatCode>
                <c:ptCount val="20"/>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E$2:$E$21</c:f>
              <c:numCache>
                <c:formatCode>General</c:formatCode>
                <c:ptCount val="20"/>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F$2:$F$21</c:f>
              <c:numCache>
                <c:formatCode>General</c:formatCode>
                <c:ptCount val="20"/>
                <c:pt idx="7">
                  <c:v>423.8571</c:v>
                </c:pt>
                <c:pt idx="8">
                  <c:v>139.7948</c:v>
                </c:pt>
                <c:pt idx="10">
                  <c:v>96.0</c:v>
                </c:pt>
                <c:pt idx="12">
                  <c:v>188.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G$2:$G$21</c:f>
              <c:numCache>
                <c:formatCode>General</c:formatCode>
                <c:ptCount val="20"/>
                <c:pt idx="3">
                  <c:v>184.1697</c:v>
                </c:pt>
                <c:pt idx="4">
                  <c:v>181.8237</c:v>
                </c:pt>
                <c:pt idx="10">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H$2:$H$21</c:f>
              <c:numCache>
                <c:formatCode>General</c:formatCode>
                <c:ptCount val="20"/>
                <c:pt idx="0">
                  <c:v>174.773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I$2:$I$21</c:f>
              <c:numCache>
                <c:formatCode>General</c:formatCode>
                <c:ptCount val="20"/>
                <c:pt idx="2">
                  <c:v>271.4586</c:v>
                </c:pt>
                <c:pt idx="3">
                  <c:v>249.422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J$2:$J$21</c:f>
              <c:numCache>
                <c:formatCode>General</c:formatCode>
                <c:ptCount val="20"/>
                <c:pt idx="7">
                  <c:v>280.4108</c:v>
                </c:pt>
                <c:pt idx="8">
                  <c:v>291.3747</c:v>
                </c:pt>
                <c:pt idx="10">
                  <c:v>234.0</c:v>
                </c:pt>
                <c:pt idx="11">
                  <c:v>264.2508</c:v>
                </c:pt>
                <c:pt idx="12">
                  <c:v>272.7032</c:v>
                </c:pt>
                <c:pt idx="13">
                  <c:v>263.8278</c:v>
                </c:pt>
                <c:pt idx="16">
                  <c:v>208.250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K$2:$K$21</c:f>
              <c:numCache>
                <c:formatCode>General</c:formatCode>
                <c:ptCount val="20"/>
                <c:pt idx="3">
                  <c:v>243.7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L$2:$L$21</c:f>
              <c:numCache>
                <c:formatCode>General</c:formatCode>
                <c:ptCount val="20"/>
                <c:pt idx="3">
                  <c:v>267.1381</c:v>
                </c:pt>
                <c:pt idx="4">
                  <c:v>221.744</c:v>
                </c:pt>
                <c:pt idx="7">
                  <c:v>208.1533</c:v>
                </c:pt>
                <c:pt idx="8">
                  <c:v>287.5064</c:v>
                </c:pt>
                <c:pt idx="9">
                  <c:v>265.618</c:v>
                </c:pt>
                <c:pt idx="10">
                  <c:v>220.0963</c:v>
                </c:pt>
                <c:pt idx="11">
                  <c:v>287.7062</c:v>
                </c:pt>
                <c:pt idx="12">
                  <c:v>241.9235</c:v>
                </c:pt>
                <c:pt idx="19">
                  <c:v>522.289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M$2:$M$21</c:f>
              <c:numCache>
                <c:formatCode>General</c:formatCode>
                <c:ptCount val="20"/>
                <c:pt idx="0">
                  <c:v>277.1543</c:v>
                </c:pt>
                <c:pt idx="1">
                  <c:v>272.2743</c:v>
                </c:pt>
                <c:pt idx="2">
                  <c:v>276.357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N$2:$N$21</c:f>
              <c:numCache>
                <c:formatCode>General</c:formatCode>
                <c:ptCount val="20"/>
                <c:pt idx="3">
                  <c:v>267.7825</c:v>
                </c:pt>
                <c:pt idx="5">
                  <c:v>281.749</c:v>
                </c:pt>
                <c:pt idx="10">
                  <c:v>243.9668</c:v>
                </c:pt>
                <c:pt idx="12">
                  <c:v>279.72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O$2:$O$21</c:f>
              <c:numCache>
                <c:formatCode>General</c:formatCode>
                <c:ptCount val="20"/>
                <c:pt idx="7">
                  <c:v>117.0</c:v>
                </c:pt>
                <c:pt idx="8">
                  <c:v>236.0833</c:v>
                </c:pt>
                <c:pt idx="9">
                  <c:v>253.1947</c:v>
                </c:pt>
                <c:pt idx="10">
                  <c:v>243.3461</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P$2:$P$21</c:f>
              <c:numCache>
                <c:formatCode>General</c:formatCode>
                <c:ptCount val="20"/>
                <c:pt idx="3">
                  <c:v>261.7383</c:v>
                </c:pt>
                <c:pt idx="4">
                  <c:v>264.6375</c:v>
                </c:pt>
                <c:pt idx="5">
                  <c:v>267.1431</c:v>
                </c:pt>
                <c:pt idx="7">
                  <c:v>239.444</c:v>
                </c:pt>
                <c:pt idx="18">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Q$2:$Q$21</c:f>
              <c:numCache>
                <c:formatCode>General</c:formatCode>
                <c:ptCount val="20"/>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R$2:$R$21</c:f>
              <c:numCache>
                <c:formatCode>General</c:formatCode>
                <c:ptCount val="20"/>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S$2:$S$21</c:f>
              <c:numCache>
                <c:formatCode>General</c:formatCode>
                <c:ptCount val="20"/>
                <c:pt idx="6">
                  <c:v>38.1935</c:v>
                </c:pt>
                <c:pt idx="8">
                  <c:v>38.3569</c:v>
                </c:pt>
                <c:pt idx="10">
                  <c:v>5.0</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T$2:$T$21</c:f>
              <c:numCache>
                <c:formatCode>General</c:formatCode>
                <c:ptCount val="20"/>
                <c:pt idx="1">
                  <c:v>263.8696</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U$2:$U$21</c:f>
              <c:numCache>
                <c:formatCode>General</c:formatCode>
                <c:ptCount val="20"/>
                <c:pt idx="1">
                  <c:v>248.5054</c:v>
                </c:pt>
                <c:pt idx="3">
                  <c:v>231.5438</c:v>
                </c:pt>
                <c:pt idx="17">
                  <c:v>270.2126</c:v>
                </c:pt>
                <c:pt idx="19">
                  <c:v>208.534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V$2:$V$21</c:f>
              <c:numCache>
                <c:formatCode>General</c:formatCode>
                <c:ptCount val="20"/>
                <c:pt idx="3">
                  <c:v>117.1621</c:v>
                </c:pt>
                <c:pt idx="5">
                  <c:v>80.5567</c:v>
                </c:pt>
                <c:pt idx="7">
                  <c:v>75.8829</c:v>
                </c:pt>
                <c:pt idx="8">
                  <c:v>249.6541</c:v>
                </c:pt>
                <c:pt idx="10">
                  <c:v>43.5111</c:v>
                </c:pt>
                <c:pt idx="11">
                  <c:v>70.6502</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W$2:$W$21</c:f>
              <c:numCache>
                <c:formatCode>General</c:formatCode>
                <c:ptCount val="20"/>
                <c:pt idx="14">
                  <c:v>207.893</c:v>
                </c:pt>
                <c:pt idx="15">
                  <c:v>204.3065</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1</c:f>
              <c:multiLvlStrCache>
                <c:ptCount val="20"/>
                <c:lvl>
                  <c:pt idx="0">
                    <c:v>Sunscreen Cosmetics Liquido</c:v>
                  </c:pt>
                  <c:pt idx="1">
                    <c:v>Sunscreen Cosmetics Crema</c:v>
                  </c:pt>
                  <c:pt idx="2">
                    <c:v>Sunscreen Cosmetics Gel</c:v>
                  </c:pt>
                  <c:pt idx="3">
                    <c:v>Sunscreen Cosmetics Liquido</c:v>
                  </c:pt>
                  <c:pt idx="4">
                    <c:v>Sunscreen Cosmetics Crema</c:v>
                  </c:pt>
                  <c:pt idx="5">
                    <c:v>Sunscreen Sport Liquido</c:v>
                  </c:pt>
                  <c:pt idx="6">
                    <c:v>Sunscreen Cosmetics Emulsion</c:v>
                  </c:pt>
                  <c:pt idx="7">
                    <c:v>Sunscreen Cosmetics Liquido</c:v>
                  </c:pt>
                  <c:pt idx="8">
                    <c:v>Sunscreen Cosmetics Locion</c:v>
                  </c:pt>
                  <c:pt idx="9">
                    <c:v>Sunscreen Sport Crema</c:v>
                  </c:pt>
                  <c:pt idx="10">
                    <c:v>Sunscreen Cosmetics Crema</c:v>
                  </c:pt>
                  <c:pt idx="11">
                    <c:v>Sunscreen Sport Locion</c:v>
                  </c:pt>
                  <c:pt idx="12">
                    <c:v>Sunscreen Sport Liquido</c:v>
                  </c:pt>
                  <c:pt idx="13">
                    <c:v>Sunscreen Cosmetics Spray</c:v>
                  </c:pt>
                  <c:pt idx="14">
                    <c:v>Sunscreen Sport Roll-On</c:v>
                  </c:pt>
                  <c:pt idx="15">
                    <c:v>Sunscreen Cosmetics Roll-On</c:v>
                  </c:pt>
                  <c:pt idx="16">
                    <c:v>Sunscreen Sport Spray</c:v>
                  </c:pt>
                  <c:pt idx="17">
                    <c:v>Sunscreen Cosmetics Fluido</c:v>
                  </c:pt>
                  <c:pt idx="18">
                    <c:v>Sunscreen Cosmetics Aceite</c:v>
                  </c:pt>
                  <c:pt idx="19">
                    <c:v>Sunscreen Cosmetics Liquido</c:v>
                  </c:pt>
                </c:lvl>
                <c:lvl>
                  <c:pt idx="0">
                    <c:v>Nivea</c:v>
                  </c:pt>
                  <c:pt idx="3">
                    <c:v>Hawaiian Tropic</c:v>
                  </c:pt>
                  <c:pt idx="7">
                    <c:v>Banana Boat</c:v>
                  </c:pt>
                  <c:pt idx="19">
                    <c:v>Beauty Care</c:v>
                  </c:pt>
                </c:lvl>
              </c:multiLvlStrCache>
            </c:multiLvlStrRef>
          </c:cat>
          <c:val>
            <c:numRef>
              <c:f>Sheet1!$X$2:$X$21</c:f>
              <c:numCache>
                <c:formatCode>General</c:formatCode>
                <c:ptCount val="20"/>
                <c:pt idx="3">
                  <c:v>97.1133</c:v>
                </c:pt>
                <c:pt idx="4">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C$2:$C$20</c:f>
              <c:numCache>
                <c:formatCode>General</c:formatCode>
                <c:ptCount val="19"/>
                <c:pt idx="3">
                  <c:v>267.6563</c:v>
                </c:pt>
                <c:pt idx="18">
                  <c:v>199.457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D$2:$D$20</c:f>
              <c:numCache>
                <c:formatCode>General</c:formatCode>
                <c:ptCount val="19"/>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E$2:$E$20</c:f>
              <c:numCache>
                <c:formatCode>General</c:formatCode>
                <c:ptCount val="19"/>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F$2:$F$20</c:f>
              <c:numCache>
                <c:formatCode>General</c:formatCode>
                <c:ptCount val="19"/>
                <c:pt idx="6">
                  <c:v>423.8571</c:v>
                </c:pt>
                <c:pt idx="7">
                  <c:v>139.9923</c:v>
                </c:pt>
                <c:pt idx="9">
                  <c:v>96.0</c:v>
                </c:pt>
                <c:pt idx="11">
                  <c:v>188.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G$2:$G$20</c:f>
              <c:numCache>
                <c:formatCode>General</c:formatCode>
                <c:ptCount val="19"/>
                <c:pt idx="3">
                  <c:v>184.3359</c:v>
                </c:pt>
                <c:pt idx="4">
                  <c:v>182.1294</c:v>
                </c:pt>
                <c:pt idx="9">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H$2:$H$20</c:f>
              <c:numCache>
                <c:formatCode>General</c:formatCode>
                <c:ptCount val="19"/>
                <c:pt idx="1">
                  <c:v>173.092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I$2:$I$20</c:f>
              <c:numCache>
                <c:formatCode>General</c:formatCode>
                <c:ptCount val="19"/>
                <c:pt idx="2">
                  <c:v>270.2144</c:v>
                </c:pt>
                <c:pt idx="3">
                  <c:v>252.938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J$2:$J$20</c:f>
              <c:numCache>
                <c:formatCode>General</c:formatCode>
                <c:ptCount val="19"/>
                <c:pt idx="6">
                  <c:v>287.0351</c:v>
                </c:pt>
                <c:pt idx="7">
                  <c:v>298.9815</c:v>
                </c:pt>
                <c:pt idx="9">
                  <c:v>234.0</c:v>
                </c:pt>
                <c:pt idx="10">
                  <c:v>265.4373</c:v>
                </c:pt>
                <c:pt idx="11">
                  <c:v>272.8058</c:v>
                </c:pt>
                <c:pt idx="12">
                  <c:v>273.1176</c:v>
                </c:pt>
                <c:pt idx="15">
                  <c:v>209.325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K$2:$K$20</c:f>
              <c:numCache>
                <c:formatCode>General</c:formatCode>
                <c:ptCount val="19"/>
                <c:pt idx="3">
                  <c:v>246.50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L$2:$L$20</c:f>
              <c:numCache>
                <c:formatCode>General</c:formatCode>
                <c:ptCount val="19"/>
                <c:pt idx="3">
                  <c:v>272.9144</c:v>
                </c:pt>
                <c:pt idx="4">
                  <c:v>222.3923</c:v>
                </c:pt>
                <c:pt idx="6">
                  <c:v>211.0788</c:v>
                </c:pt>
                <c:pt idx="7">
                  <c:v>290.9214</c:v>
                </c:pt>
                <c:pt idx="8">
                  <c:v>267.4591</c:v>
                </c:pt>
                <c:pt idx="9">
                  <c:v>222.0956</c:v>
                </c:pt>
                <c:pt idx="10">
                  <c:v>291.3735</c:v>
                </c:pt>
                <c:pt idx="11">
                  <c:v>251.9868</c:v>
                </c:pt>
                <c:pt idx="18">
                  <c:v>551.16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M$2:$M$20</c:f>
              <c:numCache>
                <c:formatCode>General</c:formatCode>
                <c:ptCount val="19"/>
                <c:pt idx="0">
                  <c:v>271.9526</c:v>
                </c:pt>
                <c:pt idx="1">
                  <c:v>278.2704</c:v>
                </c:pt>
                <c:pt idx="2">
                  <c:v>275.845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N$2:$N$20</c:f>
              <c:numCache>
                <c:formatCode>General</c:formatCode>
                <c:ptCount val="19"/>
                <c:pt idx="3">
                  <c:v>271.1801</c:v>
                </c:pt>
                <c:pt idx="5">
                  <c:v>289.6958</c:v>
                </c:pt>
                <c:pt idx="9">
                  <c:v>247.0803</c:v>
                </c:pt>
                <c:pt idx="11">
                  <c:v>280.17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O$2:$O$20</c:f>
              <c:numCache>
                <c:formatCode>General</c:formatCode>
                <c:ptCount val="19"/>
                <c:pt idx="6">
                  <c:v>117.0</c:v>
                </c:pt>
                <c:pt idx="7">
                  <c:v>238.2634</c:v>
                </c:pt>
                <c:pt idx="8">
                  <c:v>256.5549</c:v>
                </c:pt>
                <c:pt idx="9">
                  <c:v>246.905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P$2:$P$20</c:f>
              <c:numCache>
                <c:formatCode>General</c:formatCode>
                <c:ptCount val="19"/>
                <c:pt idx="3">
                  <c:v>262.8873</c:v>
                </c:pt>
                <c:pt idx="4">
                  <c:v>267.2908</c:v>
                </c:pt>
                <c:pt idx="5">
                  <c:v>268.5274</c:v>
                </c:pt>
                <c:pt idx="6">
                  <c:v>243.5742</c:v>
                </c:pt>
                <c:pt idx="17">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Q$2:$Q$20</c:f>
              <c:numCache>
                <c:formatCode>General</c:formatCode>
                <c:ptCount val="19"/>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R$2:$R$20</c:f>
              <c:numCache>
                <c:formatCode>General</c:formatCode>
                <c:ptCount val="19"/>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S$2:$S$20</c:f>
              <c:numCache>
                <c:formatCode>General</c:formatCode>
                <c:ptCount val="19"/>
                <c:pt idx="9">
                  <c:v>5.0</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T$2:$T$20</c:f>
              <c:numCache>
                <c:formatCode>General</c:formatCode>
                <c:ptCount val="19"/>
                <c:pt idx="0">
                  <c:v>262.754</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U$2:$U$20</c:f>
              <c:numCache>
                <c:formatCode>General</c:formatCode>
                <c:ptCount val="19"/>
                <c:pt idx="0">
                  <c:v>247.4402</c:v>
                </c:pt>
                <c:pt idx="3">
                  <c:v>234.5103</c:v>
                </c:pt>
                <c:pt idx="16">
                  <c:v>272.3561</c:v>
                </c:pt>
                <c:pt idx="18">
                  <c:v>208.892</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V$2:$V$20</c:f>
              <c:numCache>
                <c:formatCode>General</c:formatCode>
                <c:ptCount val="19"/>
                <c:pt idx="3">
                  <c:v>119.6792</c:v>
                </c:pt>
                <c:pt idx="5">
                  <c:v>81.0167</c:v>
                </c:pt>
                <c:pt idx="6">
                  <c:v>75.7937</c:v>
                </c:pt>
                <c:pt idx="7">
                  <c:v>251.12</c:v>
                </c:pt>
                <c:pt idx="9">
                  <c:v>15.3399</c:v>
                </c:pt>
                <c:pt idx="10">
                  <c:v>70.865</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W$2:$W$20</c:f>
              <c:numCache>
                <c:formatCode>General</c:formatCode>
                <c:ptCount val="19"/>
                <c:pt idx="13">
                  <c:v>210.2761</c:v>
                </c:pt>
                <c:pt idx="14">
                  <c:v>205.050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Liquido</c:v>
                  </c:pt>
                  <c:pt idx="4">
                    <c:v>Sunscreen Cosmetics Crema</c:v>
                  </c:pt>
                  <c:pt idx="5">
                    <c:v>Sunscreen Sport Liquido</c:v>
                  </c:pt>
                  <c:pt idx="6">
                    <c:v>Sunscreen Cosmetics Liquido</c:v>
                  </c:pt>
                  <c:pt idx="7">
                    <c:v>Sunscreen Cosmetics Locion</c:v>
                  </c:pt>
                  <c:pt idx="8">
                    <c:v>Sunscreen Sport Crema</c:v>
                  </c:pt>
                  <c:pt idx="9">
                    <c:v>Sunscreen Cosmetics Crema</c:v>
                  </c:pt>
                  <c:pt idx="10">
                    <c:v>Sunscreen Sport Locion</c:v>
                  </c:pt>
                  <c:pt idx="11">
                    <c:v>Sunscreen Sport Liquido</c:v>
                  </c:pt>
                  <c:pt idx="12">
                    <c:v>Sunscreen Cosmetics Spray</c:v>
                  </c:pt>
                  <c:pt idx="13">
                    <c:v>Sunscreen Sport Roll-On</c:v>
                  </c:pt>
                  <c:pt idx="14">
                    <c:v>Sunscreen Cosmetics Roll-On</c:v>
                  </c:pt>
                  <c:pt idx="15">
                    <c:v>Sunscreen Sport Spray</c:v>
                  </c:pt>
                  <c:pt idx="16">
                    <c:v>Sunscreen Cosmetics Fluido</c:v>
                  </c:pt>
                  <c:pt idx="17">
                    <c:v>Sunscreen Cosmetics Aceite</c:v>
                  </c:pt>
                  <c:pt idx="18">
                    <c:v>Sunscreen Cosmetics Liquido</c:v>
                  </c:pt>
                </c:lvl>
                <c:lvl>
                  <c:pt idx="0">
                    <c:v>Nivea</c:v>
                  </c:pt>
                  <c:pt idx="3">
                    <c:v>Hawaiian Tropic</c:v>
                  </c:pt>
                  <c:pt idx="6">
                    <c:v>Banana Boat</c:v>
                  </c:pt>
                  <c:pt idx="18">
                    <c:v>Beauty Care</c:v>
                  </c:pt>
                </c:lvl>
              </c:multiLvlStrCache>
            </c:multiLvlStrRef>
          </c:cat>
          <c:val>
            <c:numRef>
              <c:f>Sheet1!$X$2:$X$20</c:f>
              <c:numCache>
                <c:formatCode>General</c:formatCode>
                <c:ptCount val="19"/>
                <c:pt idx="3">
                  <c:v>97.154</c:v>
                </c:pt>
                <c:pt idx="4">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C$2:$C$19</c:f>
              <c:numCache>
                <c:formatCode>General</c:formatCode>
                <c:ptCount val="18"/>
                <c:pt idx="5">
                  <c:v>364.9119</c:v>
                </c:pt>
                <c:pt idx="17">
                  <c:v>39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D$2:$D$19</c:f>
              <c:numCache>
                <c:formatCode>General</c:formatCode>
                <c:ptCount val="1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E$2:$E$19</c:f>
              <c:numCache>
                <c:formatCode>General</c:formatCode>
                <c:ptCount val="18"/>
                <c:pt idx="3">
                  <c:v>489.36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F$2:$F$19</c:f>
              <c:numCache>
                <c:formatCode>General</c:formatCode>
                <c:ptCount val="18"/>
                <c:pt idx="8">
                  <c:v>423.8571</c:v>
                </c:pt>
                <c:pt idx="12">
                  <c:v>188.0</c:v>
                </c:pt>
                <c:pt idx="13">
                  <c:v>9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G$2:$G$19</c:f>
              <c:numCache>
                <c:formatCode>General</c:formatCode>
                <c:ptCount val="18"/>
                <c:pt idx="5">
                  <c:v>150.7706</c:v>
                </c:pt>
                <c:pt idx="6">
                  <c:v>197.704</c:v>
                </c:pt>
                <c:pt idx="13">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H$2:$H$19</c:f>
              <c:numCache>
                <c:formatCode>General</c:formatCode>
                <c:ptCount val="1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I$2:$I$19</c:f>
              <c:numCache>
                <c:formatCode>General</c:formatCode>
                <c:ptCount val="18"/>
                <c:pt idx="5">
                  <c:v>263.842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J$2:$J$19</c:f>
              <c:numCache>
                <c:formatCode>General</c:formatCode>
                <c:ptCount val="18"/>
                <c:pt idx="8">
                  <c:v>300.5536</c:v>
                </c:pt>
                <c:pt idx="10">
                  <c:v>390.4527</c:v>
                </c:pt>
                <c:pt idx="11">
                  <c:v>360.8186</c:v>
                </c:pt>
                <c:pt idx="12">
                  <c:v>329.831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K$2:$K$19</c:f>
              <c:numCache>
                <c:formatCode>General</c:formatCode>
                <c:ptCount val="18"/>
                <c:pt idx="5">
                  <c:v>247.3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L$2:$L$19</c:f>
              <c:numCache>
                <c:formatCode>General</c:formatCode>
                <c:ptCount val="18"/>
                <c:pt idx="5">
                  <c:v>296.991</c:v>
                </c:pt>
                <c:pt idx="6">
                  <c:v>223.5671</c:v>
                </c:pt>
                <c:pt idx="8">
                  <c:v>252.9749</c:v>
                </c:pt>
                <c:pt idx="9">
                  <c:v>353.7306</c:v>
                </c:pt>
                <c:pt idx="10">
                  <c:v>304.7437</c:v>
                </c:pt>
                <c:pt idx="11">
                  <c:v>314.9736</c:v>
                </c:pt>
                <c:pt idx="12">
                  <c:v>324.2121</c:v>
                </c:pt>
                <c:pt idx="13">
                  <c:v>328.0767</c:v>
                </c:pt>
                <c:pt idx="17">
                  <c:v>551.16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M$2:$M$19</c:f>
              <c:numCache>
                <c:formatCode>General</c:formatCode>
                <c:ptCount val="18"/>
                <c:pt idx="4">
                  <c:v>652.114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N$2:$N$19</c:f>
              <c:numCache>
                <c:formatCode>General</c:formatCode>
                <c:ptCount val="18"/>
                <c:pt idx="5">
                  <c:v>309.3484</c:v>
                </c:pt>
                <c:pt idx="7">
                  <c:v>302.5802</c:v>
                </c:pt>
                <c:pt idx="12">
                  <c:v>323.0957</c:v>
                </c:pt>
                <c:pt idx="13">
                  <c:v>250.894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O$2:$O$19</c:f>
              <c:numCache>
                <c:formatCode>General</c:formatCode>
                <c:ptCount val="18"/>
                <c:pt idx="8">
                  <c:v>117.0</c:v>
                </c:pt>
                <c:pt idx="9">
                  <c:v>286.198</c:v>
                </c:pt>
                <c:pt idx="10">
                  <c:v>296.3353</c:v>
                </c:pt>
                <c:pt idx="13">
                  <c:v>301.52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P$2:$P$19</c:f>
              <c:numCache>
                <c:formatCode>General</c:formatCode>
                <c:ptCount val="18"/>
                <c:pt idx="5">
                  <c:v>281.7179</c:v>
                </c:pt>
                <c:pt idx="6">
                  <c:v>282.5092</c:v>
                </c:pt>
                <c:pt idx="7">
                  <c:v>316.0093</c:v>
                </c:pt>
                <c:pt idx="8">
                  <c:v>278.943</c:v>
                </c:pt>
                <c:pt idx="16">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Q$2:$Q$19</c:f>
              <c:numCache>
                <c:formatCode>General</c:formatCode>
                <c:ptCount val="18"/>
                <c:pt idx="1">
                  <c:v>643.2318</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R$2:$R$19</c:f>
              <c:numCache>
                <c:formatCode>General</c:formatCode>
                <c:ptCount val="18"/>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S$2:$S$19</c:f>
              <c:numCache>
                <c:formatCode>General</c:formatCode>
                <c:ptCount val="18"/>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T$2:$T$19</c:f>
              <c:numCache>
                <c:formatCode>General</c:formatCode>
                <c:ptCount val="18"/>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U$2:$U$19</c:f>
              <c:numCache>
                <c:formatCode>General</c:formatCode>
                <c:ptCount val="18"/>
                <c:pt idx="0">
                  <c:v>626.567</c:v>
                </c:pt>
                <c:pt idx="2">
                  <c:v>646.772</c:v>
                </c:pt>
                <c:pt idx="5">
                  <c:v>340.8083</c:v>
                </c:pt>
                <c:pt idx="15">
                  <c:v>342.1964</c:v>
                </c:pt>
                <c:pt idx="17">
                  <c:v>277.0625</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V$2:$V$19</c:f>
              <c:numCache>
                <c:formatCode>General</c:formatCode>
                <c:ptCount val="18"/>
                <c:pt idx="5">
                  <c:v>95.1862</c:v>
                </c:pt>
                <c:pt idx="7">
                  <c:v>59.9584</c:v>
                </c:pt>
                <c:pt idx="8">
                  <c:v>69.0348</c:v>
                </c:pt>
                <c:pt idx="11">
                  <c:v>69.3</c:v>
                </c:pt>
                <c:pt idx="13">
                  <c:v>54.3333</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W$2:$W$19</c:f>
              <c:numCache>
                <c:formatCode>General</c:formatCode>
                <c:ptCount val="18"/>
                <c:pt idx="14">
                  <c:v>268.0921</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9</c:f>
              <c:multiLvlStrCache>
                <c:ptCount val="18"/>
                <c:lvl>
                  <c:pt idx="0">
                    <c:v>Sunscreen Derma Crema</c:v>
                  </c:pt>
                  <c:pt idx="1">
                    <c:v>Sunscreen Derma Gel</c:v>
                  </c:pt>
                  <c:pt idx="2">
                    <c:v>Sunscreen Derma Fluido</c:v>
                  </c:pt>
                  <c:pt idx="3">
                    <c:v>Sunscreen Derma Stick</c:v>
                  </c:pt>
                  <c:pt idx="4">
                    <c:v>Sunscreen Derma Aceite</c:v>
                  </c:pt>
                  <c:pt idx="5">
                    <c:v>Sunscreen Cosmetics Liquido</c:v>
                  </c:pt>
                  <c:pt idx="6">
                    <c:v>Sunscreen Cosmetics Crema</c:v>
                  </c:pt>
                  <c:pt idx="7">
                    <c:v>Sunscreen Sport Liquido</c:v>
                  </c:pt>
                  <c:pt idx="8">
                    <c:v>Sunscreen Cosmetics Liquido</c:v>
                  </c:pt>
                  <c:pt idx="9">
                    <c:v>Sunscreen Sport Crema</c:v>
                  </c:pt>
                  <c:pt idx="10">
                    <c:v>Sunscreen Cosmetics Locion</c:v>
                  </c:pt>
                  <c:pt idx="11">
                    <c:v>Sunscreen Sport Locion</c:v>
                  </c:pt>
                  <c:pt idx="12">
                    <c:v>Sunscreen Sport Liquido</c:v>
                  </c:pt>
                  <c:pt idx="13">
                    <c:v>Sunscreen Cosmetics Crema</c:v>
                  </c:pt>
                  <c:pt idx="14">
                    <c:v>Sunscreen Sport Roll-On</c:v>
                  </c:pt>
                  <c:pt idx="15">
                    <c:v>Sunscreen Cosmetics Fluido</c:v>
                  </c:pt>
                  <c:pt idx="16">
                    <c:v>Sunscreen Cosmetics Aceite</c:v>
                  </c:pt>
                  <c:pt idx="17">
                    <c:v>Sunscreen Cosmetics Liquido</c:v>
                  </c:pt>
                </c:lvl>
                <c:lvl>
                  <c:pt idx="0">
                    <c:v>Isdin</c:v>
                  </c:pt>
                  <c:pt idx="5">
                    <c:v>Hawaiian Tropic</c:v>
                  </c:pt>
                  <c:pt idx="8">
                    <c:v>Banana Boat</c:v>
                  </c:pt>
                  <c:pt idx="17">
                    <c:v>Beauty Care</c:v>
                  </c:pt>
                </c:lvl>
              </c:multiLvlStrCache>
            </c:multiLvlStrRef>
          </c:cat>
          <c:val>
            <c:numRef>
              <c:f>Sheet1!$X$2:$X$19</c:f>
              <c:numCache>
                <c:formatCode>General</c:formatCode>
                <c:ptCount val="18"/>
                <c:pt idx="5">
                  <c:v>123.8644</c:v>
                </c:pt>
                <c:pt idx="6">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C$2:$C$14</c:f>
              <c:numCache>
                <c:formatCode>General</c:formatCode>
                <c:ptCount val="13"/>
                <c:pt idx="12">
                  <c:v>205.8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D$2:$D$14</c:f>
              <c:numCache>
                <c:formatCode>General</c:formatCode>
                <c:ptCount val="13"/>
                <c:pt idx="9">
                  <c:v>156.23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E$2:$E$14</c:f>
              <c:numCache>
                <c:formatCode>General</c:formatCode>
                <c:ptCount val="13"/>
                <c:pt idx="0">
                  <c:v>169.53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F$2:$F$14</c:f>
              <c:numCache>
                <c:formatCode>General</c:formatCode>
                <c:ptCount val="13"/>
                <c:pt idx="2">
                  <c:v>280.43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G$2:$G$14</c:f>
              <c:numCache>
                <c:formatCode>General</c:formatCode>
                <c:ptCount val="13"/>
                <c:pt idx="4">
                  <c:v>339.6831</c:v>
                </c:pt>
                <c:pt idx="5">
                  <c:v>196.3737</c:v>
                </c:pt>
                <c:pt idx="6">
                  <c:v>205.934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H$2:$H$14</c:f>
              <c:numCache>
                <c:formatCode>General</c:formatCode>
                <c:ptCount val="13"/>
                <c:pt idx="4">
                  <c:v>205.1743</c:v>
                </c:pt>
                <c:pt idx="6">
                  <c:v>220.3095</c:v>
                </c:pt>
                <c:pt idx="7">
                  <c:v>268.9214</c:v>
                </c:pt>
                <c:pt idx="8">
                  <c:v>191.6527</c:v>
                </c:pt>
                <c:pt idx="10">
                  <c:v>195.667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I$2:$I$14</c:f>
              <c:numCache>
                <c:formatCode>General</c:formatCode>
                <c:ptCount val="13"/>
                <c:pt idx="0">
                  <c:v>289.7482</c:v>
                </c:pt>
                <c:pt idx="1">
                  <c:v>268.170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2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J$2:$J$14</c:f>
              <c:numCache>
                <c:formatCode>General</c:formatCode>
                <c:ptCount val="13"/>
                <c:pt idx="11">
                  <c:v>220.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36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K$2:$K$14</c:f>
              <c:numCache>
                <c:formatCode>General</c:formatCode>
                <c:ptCount val="13"/>
                <c:pt idx="3">
                  <c:v>239.568</c:v>
                </c:pt>
                <c:pt idx="4">
                  <c:v>153.2917</c:v>
                </c:pt>
                <c:pt idx="7">
                  <c:v>260.888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L$2:$L$14</c:f>
              <c:numCache>
                <c:formatCode>General</c:formatCode>
                <c:ptCount val="13"/>
                <c:pt idx="5">
                  <c:v>157.9333</c:v>
                </c:pt>
                <c:pt idx="9">
                  <c:v>226.7692</c:v>
                </c:pt>
                <c:pt idx="10">
                  <c:v>239.439</c:v>
                </c:pt>
                <c:pt idx="11">
                  <c:v>224.163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M$2:$M$14</c:f>
              <c:numCache>
                <c:formatCode>General</c:formatCode>
                <c:ptCount val="1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N$2:$N$14</c:f>
              <c:numCache>
                <c:formatCode>General</c:formatCode>
                <c:ptCount val="13"/>
                <c:pt idx="1">
                  <c:v>254.46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O$2:$O$14</c:f>
              <c:numCache>
                <c:formatCode>General</c:formatCode>
                <c:ptCount val="13"/>
                <c:pt idx="1">
                  <c:v>231.357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P$2:$P$14</c:f>
              <c:numCache>
                <c:formatCode>General</c:formatCode>
                <c:ptCount val="13"/>
                <c:pt idx="4">
                  <c:v>230.7012</c:v>
                </c:pt>
                <c:pt idx="5">
                  <c:v>93.5684</c:v>
                </c:pt>
                <c:pt idx="10">
                  <c:v>138.9984</c:v>
                </c:pt>
                <c:pt idx="11">
                  <c:v>75.294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osmetics Liquido</c:v>
                  </c:pt>
                  <c:pt idx="1">
                    <c:v>Sunscreen Cosmetics Crema</c:v>
                  </c:pt>
                  <c:pt idx="2">
                    <c:v>Sunscreen Cosmetics Gel</c:v>
                  </c:pt>
                  <c:pt idx="3">
                    <c:v>Sunscreen Cosmetics Crema</c:v>
                  </c:pt>
                  <c:pt idx="4">
                    <c:v>Sunscreen Cosmetics Locion</c:v>
                  </c:pt>
                  <c:pt idx="5">
                    <c:v>Sunscreen Cosmetics Liquido</c:v>
                  </c:pt>
                  <c:pt idx="6">
                    <c:v>Sunscreen Sport Locion</c:v>
                  </c:pt>
                  <c:pt idx="7">
                    <c:v>Sunscreen Sport Crema</c:v>
                  </c:pt>
                  <c:pt idx="8">
                    <c:v>Sunscreen Sport Liquido</c:v>
                  </c:pt>
                  <c:pt idx="9">
                    <c:v>Sunscreen Cosmetics Crema</c:v>
                  </c:pt>
                  <c:pt idx="10">
                    <c:v>Sunscreen Cosmetics Liquido</c:v>
                  </c:pt>
                  <c:pt idx="11">
                    <c:v>Sunscreen Sport Liquido</c:v>
                  </c:pt>
                  <c:pt idx="12">
                    <c:v>Sunscreen Cosmetics Liquido</c:v>
                  </c:pt>
                </c:lvl>
                <c:lvl>
                  <c:pt idx="0">
                    <c:v>Nivea</c:v>
                  </c:pt>
                  <c:pt idx="3">
                    <c:v>Banana Boat</c:v>
                  </c:pt>
                  <c:pt idx="9">
                    <c:v>Hawaiian Tropic</c:v>
                  </c:pt>
                  <c:pt idx="12">
                    <c:v>Beauty Care</c:v>
                  </c:pt>
                </c:lvl>
              </c:multiLvlStrCache>
            </c:multiLvlStrRef>
          </c:cat>
          <c:val>
            <c:numRef>
              <c:f>Sheet1!$Q$2:$Q$14</c:f>
              <c:numCache>
                <c:formatCode>General</c:formatCode>
                <c:ptCount val="13"/>
                <c:pt idx="10">
                  <c:v>88.515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C$2:$C$20</c:f>
              <c:numCache>
                <c:formatCode>General</c:formatCode>
                <c:ptCount val="19"/>
                <c:pt idx="4">
                  <c:v>242.6011</c:v>
                </c:pt>
                <c:pt idx="18">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D$2:$D$20</c:f>
              <c:numCache>
                <c:formatCode>General</c:formatCode>
                <c:ptCount val="19"/>
                <c:pt idx="7">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E$2:$E$20</c:f>
              <c:numCache>
                <c:formatCode>General</c:formatCode>
                <c:ptCount val="19"/>
                <c:pt idx="4">
                  <c:v>187.6911</c:v>
                </c:pt>
                <c:pt idx="5">
                  <c:v>180.826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F$2:$F$20</c:f>
              <c:numCache>
                <c:formatCode>General</c:formatCode>
                <c:ptCount val="19"/>
                <c:pt idx="1">
                  <c:v>175.09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G$2:$G$20</c:f>
              <c:numCache>
                <c:formatCode>General</c:formatCode>
                <c:ptCount val="19"/>
                <c:pt idx="2">
                  <c:v>253.576</c:v>
                </c:pt>
                <c:pt idx="4">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H$2:$H$20</c:f>
              <c:numCache>
                <c:formatCode>General</c:formatCode>
                <c:ptCount val="19"/>
                <c:pt idx="7">
                  <c:v>272.1146</c:v>
                </c:pt>
                <c:pt idx="8">
                  <c:v>276.9143</c:v>
                </c:pt>
                <c:pt idx="10">
                  <c:v>234.0</c:v>
                </c:pt>
                <c:pt idx="11">
                  <c:v>261.4068</c:v>
                </c:pt>
                <c:pt idx="12">
                  <c:v>272.4174</c:v>
                </c:pt>
                <c:pt idx="13">
                  <c:v>272.7836</c:v>
                </c:pt>
                <c:pt idx="16">
                  <c:v>208.942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I$2:$I$20</c:f>
              <c:numCache>
                <c:formatCode>General</c:formatCode>
                <c:ptCount val="19"/>
                <c:pt idx="4">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J$2:$J$20</c:f>
              <c:numCache>
                <c:formatCode>General</c:formatCode>
                <c:ptCount val="19"/>
                <c:pt idx="4">
                  <c:v>268.1255</c:v>
                </c:pt>
                <c:pt idx="5">
                  <c:v>101.8947</c:v>
                </c:pt>
                <c:pt idx="7">
                  <c:v>280.4858</c:v>
                </c:pt>
                <c:pt idx="8">
                  <c:v>208.6849</c:v>
                </c:pt>
                <c:pt idx="9">
                  <c:v>249.1031</c:v>
                </c:pt>
                <c:pt idx="10">
                  <c:v>190.2504</c:v>
                </c:pt>
                <c:pt idx="11">
                  <c:v>272.2979</c:v>
                </c:pt>
                <c:pt idx="12">
                  <c:v>256.611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K$2:$K$20</c:f>
              <c:numCache>
                <c:formatCode>General</c:formatCode>
                <c:ptCount val="19"/>
                <c:pt idx="0">
                  <c:v>259.6867</c:v>
                </c:pt>
                <c:pt idx="1">
                  <c:v>264.3868</c:v>
                </c:pt>
                <c:pt idx="2">
                  <c:v>259.883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L$2:$L$20</c:f>
              <c:numCache>
                <c:formatCode>General</c:formatCode>
                <c:ptCount val="19"/>
                <c:pt idx="4">
                  <c:v>255.1544</c:v>
                </c:pt>
                <c:pt idx="6">
                  <c:v>277.9825</c:v>
                </c:pt>
                <c:pt idx="10">
                  <c:v>200.8932</c:v>
                </c:pt>
                <c:pt idx="12">
                  <c:v>261.234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M$2:$M$20</c:f>
              <c:numCache>
                <c:formatCode>General</c:formatCode>
                <c:ptCount val="19"/>
                <c:pt idx="7">
                  <c:v>237.0703</c:v>
                </c:pt>
                <c:pt idx="9">
                  <c:v>244.877</c:v>
                </c:pt>
                <c:pt idx="10">
                  <c:v>244.396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N$2:$N$20</c:f>
              <c:numCache>
                <c:formatCode>General</c:formatCode>
                <c:ptCount val="19"/>
                <c:pt idx="4">
                  <c:v>254.8698</c:v>
                </c:pt>
                <c:pt idx="5">
                  <c:v>261.2444</c:v>
                </c:pt>
                <c:pt idx="6">
                  <c:v>256.5888</c:v>
                </c:pt>
                <c:pt idx="8">
                  <c:v>230.55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O$2:$O$20</c:f>
              <c:numCache>
                <c:formatCode>General</c:formatCode>
                <c:ptCount val="1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P$2:$P$20</c:f>
              <c:numCache>
                <c:formatCode>General</c:formatCode>
                <c:ptCount val="19"/>
                <c:pt idx="10">
                  <c:v>5.0</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Q$2:$Q$20</c:f>
              <c:numCache>
                <c:formatCode>General</c:formatCode>
                <c:ptCount val="19"/>
                <c:pt idx="0">
                  <c:v>247.3412</c:v>
                </c:pt>
                <c:pt idx="3">
                  <c:v>243.353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R$2:$R$20</c:f>
              <c:numCache>
                <c:formatCode>General</c:formatCode>
                <c:ptCount val="19"/>
                <c:pt idx="0">
                  <c:v>231.7299</c:v>
                </c:pt>
                <c:pt idx="4">
                  <c:v>222.5471</c:v>
                </c:pt>
                <c:pt idx="17">
                  <c:v>269.4524</c:v>
                </c:pt>
                <c:pt idx="18">
                  <c:v>206.818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S$2:$S$20</c:f>
              <c:numCache>
                <c:formatCode>General</c:formatCode>
                <c:ptCount val="19"/>
                <c:pt idx="4">
                  <c:v>122.6734</c:v>
                </c:pt>
                <c:pt idx="6">
                  <c:v>90.8934</c:v>
                </c:pt>
                <c:pt idx="7">
                  <c:v>250.9462</c:v>
                </c:pt>
                <c:pt idx="8">
                  <c:v>83.5489</c:v>
                </c:pt>
                <c:pt idx="10">
                  <c:v>6.4724</c:v>
                </c:pt>
                <c:pt idx="11">
                  <c:v>82.1201</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T$2:$T$20</c:f>
              <c:numCache>
                <c:formatCode>General</c:formatCode>
                <c:ptCount val="19"/>
                <c:pt idx="14">
                  <c:v>204.6779</c:v>
                </c:pt>
                <c:pt idx="15">
                  <c:v>203.38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U$2:$U$20</c:f>
              <c:numCache>
                <c:formatCode>General</c:formatCode>
                <c:ptCount val="19"/>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0</c:f>
              <c:multiLvlStrCache>
                <c:ptCount val="19"/>
                <c:lvl>
                  <c:pt idx="0">
                    <c:v>Sunscreen Cosmetics Crema</c:v>
                  </c:pt>
                  <c:pt idx="1">
                    <c:v>Sunscreen Cosmetics Liquido</c:v>
                  </c:pt>
                  <c:pt idx="2">
                    <c:v>Sunscreen Cosmetics Gel</c:v>
                  </c:pt>
                  <c:pt idx="3">
                    <c:v>Sunscreen Cosmetics Fluido</c:v>
                  </c:pt>
                  <c:pt idx="4">
                    <c:v>Sunscreen Cosmetics Liquido</c:v>
                  </c:pt>
                  <c:pt idx="5">
                    <c:v>Sunscreen Cosmetics Crema</c:v>
                  </c:pt>
                  <c:pt idx="6">
                    <c:v>Sunscreen Sport Liquido</c:v>
                  </c:pt>
                  <c:pt idx="7">
                    <c:v>Sunscreen Cosmetics Locion</c:v>
                  </c:pt>
                  <c:pt idx="8">
                    <c:v>Sunscreen Cosmetics Liquido</c:v>
                  </c:pt>
                  <c:pt idx="9">
                    <c:v>Sunscreen Sport Crema</c:v>
                  </c:pt>
                  <c:pt idx="10">
                    <c:v>Sunscreen Cosmetics Crema</c:v>
                  </c:pt>
                  <c:pt idx="11">
                    <c:v>Sunscreen Sport Locion</c:v>
                  </c:pt>
                  <c:pt idx="12">
                    <c:v>Sunscreen Sport Liquido</c:v>
                  </c:pt>
                  <c:pt idx="13">
                    <c:v>Sunscreen Cosmetics Spray</c:v>
                  </c:pt>
                  <c:pt idx="14">
                    <c:v>Sunscreen Cosmetics Roll-On</c:v>
                  </c:pt>
                  <c:pt idx="15">
                    <c:v>Sunscreen Sport Roll-On</c:v>
                  </c:pt>
                  <c:pt idx="16">
                    <c:v>Sunscreen Sport Spray</c:v>
                  </c:pt>
                  <c:pt idx="17">
                    <c:v>Sunscreen Cosmetics Fluido</c:v>
                  </c:pt>
                  <c:pt idx="18">
                    <c:v>Sunscreen Cosmetics Liquido</c:v>
                  </c:pt>
                </c:lvl>
                <c:lvl>
                  <c:pt idx="0">
                    <c:v>Nivea</c:v>
                  </c:pt>
                  <c:pt idx="4">
                    <c:v>Hawaiian Tropic</c:v>
                  </c:pt>
                  <c:pt idx="7">
                    <c:v>Banana Boat</c:v>
                  </c:pt>
                  <c:pt idx="18">
                    <c:v>Beauty Care</c:v>
                  </c:pt>
                </c:lvl>
              </c:multiLvlStrCache>
            </c:multiLvlStrRef>
          </c:cat>
          <c:val>
            <c:numRef>
              <c:f>Sheet1!$V$2:$V$20</c:f>
              <c:numCache>
                <c:formatCode>General</c:formatCode>
                <c:ptCount val="19"/>
                <c:pt idx="4">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dLblPos val="t"/>
              <c:showLegendKey val="0"/>
              <c:showVal val="1"/>
              <c:showCatName val="0"/>
              <c:showSerName val="0"/>
              <c:showPercent val="0"/>
              <c:showBubbleSize val="0"/>
            </c:dLbl>
            <c:dLbl>
              <c:idx val="1"/>
              <c:tx>
                <c:rich>
                  <a:bodyPr/>
                  <a:lstStyle/>
                  <a:p>
                    <a:r>
                      <a:t>234.59</a:t>
                    </a:r>
                  </a:p>
                </c:rich>
              </c:tx>
              <c:dLblPos val="t"/>
              <c:showLegendKey val="0"/>
              <c:showVal val="1"/>
              <c:showCatName val="0"/>
              <c:showSerName val="0"/>
              <c:showPercent val="0"/>
              <c:showBubbleSize val="0"/>
            </c:dLbl>
            <c:dLbl>
              <c:idx val="2"/>
              <c:tx>
                <c:rich>
                  <a:bodyPr/>
                  <a:lstStyle/>
                  <a:p>
                    <a:r>
                      <a:t>125.0</a:t>
                    </a:r>
                  </a:p>
                </c:rich>
              </c:tx>
              <c:dLblPos val="t"/>
              <c:showLegendKey val="0"/>
              <c:showVal val="1"/>
              <c:showCatName val="0"/>
              <c:showSerName val="0"/>
              <c:showPercent val="0"/>
              <c:showBubbleSize val="0"/>
            </c:dLbl>
            <c:dLbl>
              <c:idx val="3"/>
              <c:tx>
                <c:rich>
                  <a:bodyPr/>
                  <a:lstStyle/>
                  <a:p>
                    <a:r>
                      <a:t>205.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dvanced Protection Sunscreen Adults Cosmetics Liquido 50+ 60Ml</c:v>
                </c:pt>
                <c:pt idx="1">
                  <c:v>Edgewell Banana Boat Mineral Sunscreen Adults Cosmetics Locion 50 60Ml</c:v>
                </c:pt>
                <c:pt idx="2">
                  <c:v>Edgewell Banana Boat Gentle Protect Sunscreen Adults Cosmetics Locion 50 180Ml</c:v>
                </c:pt>
                <c:pt idx="3">
                  <c:v>Edgewell Banana Boat Banded Pack Banded Pack 2X Sunscreen Multi 50+ 170Ml</c:v>
                </c:pt>
              </c:strCache>
            </c:strRef>
          </c:cat>
          <c:val>
            <c:numRef>
              <c:f>Sheet1!$B$2:$B$5</c:f>
              <c:numCache>
                <c:formatCode>General</c:formatCode>
                <c:ptCount val="4"/>
                <c:pt idx="0">
                  <c:v>96.8</c:v>
                </c:pt>
                <c:pt idx="1">
                  <c:v>234.59</c:v>
                </c:pt>
                <c:pt idx="2">
                  <c:v>125.0</c:v>
                </c:pt>
                <c:pt idx="3">
                  <c:v>20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dLblPos val="t"/>
              <c:showLegendKey val="0"/>
              <c:showVal val="1"/>
              <c:showCatName val="0"/>
              <c:showSerName val="0"/>
              <c:showPercent val="0"/>
              <c:showBubbleSize val="0"/>
            </c:dLbl>
            <c:dLbl>
              <c:idx val="1"/>
              <c:tx>
                <c:rich>
                  <a:bodyPr/>
                  <a:lstStyle/>
                  <a:p>
                    <a:r>
                      <a:t>331.9</a:t>
                    </a:r>
                  </a:p>
                </c:rich>
              </c:tx>
              <c:dLblPos val="t"/>
              <c:showLegendKey val="0"/>
              <c:showVal val="1"/>
              <c:showCatName val="0"/>
              <c:showSerName val="0"/>
              <c:showPercent val="0"/>
              <c:showBubbleSize val="0"/>
            </c:dLbl>
            <c:dLbl>
              <c:idx val="2"/>
              <c:tx>
                <c:rich>
                  <a:bodyPr/>
                  <a:lstStyle/>
                  <a:p>
                    <a:r>
                      <a:t>316.99</a:t>
                    </a:r>
                  </a:p>
                </c:rich>
              </c:tx>
              <c:dLblPos val="t"/>
              <c:showLegendKey val="0"/>
              <c:showVal val="1"/>
              <c:showCatName val="0"/>
              <c:showSerName val="0"/>
              <c:showPercent val="0"/>
              <c:showBubbleSize val="0"/>
            </c:dLbl>
            <c:dLbl>
              <c:idx val="3"/>
              <c:tx>
                <c:rich>
                  <a:bodyPr/>
                  <a:lstStyle/>
                  <a:p>
                    <a:r>
                      <a:t>316.7</a:t>
                    </a:r>
                  </a:p>
                </c:rich>
              </c:tx>
              <c:dLblPos val="t"/>
              <c:showLegendKey val="0"/>
              <c:showVal val="1"/>
              <c:showCatName val="0"/>
              <c:showSerName val="0"/>
              <c:showPercent val="0"/>
              <c:showBubbleSize val="0"/>
            </c:dLbl>
            <c:dLbl>
              <c:idx val="4"/>
              <c:tx>
                <c:rich>
                  <a:bodyPr/>
                  <a:lstStyle/>
                  <a:p>
                    <a:r>
                      <a:t>298.88</a:t>
                    </a:r>
                  </a:p>
                </c:rich>
              </c:tx>
              <c:dLblPos val="t"/>
              <c:showLegendKey val="0"/>
              <c:showVal val="1"/>
              <c:showCatName val="0"/>
              <c:showSerName val="0"/>
              <c:showPercent val="0"/>
              <c:showBubbleSize val="0"/>
            </c:dLbl>
            <c:dLbl>
              <c:idx val="5"/>
              <c:tx>
                <c:rich>
                  <a:bodyPr/>
                  <a:lstStyle/>
                  <a:p>
                    <a:r>
                      <a:t>312.87</a:t>
                    </a:r>
                  </a:p>
                </c:rich>
              </c:tx>
              <c:dLblPos val="t"/>
              <c:showLegendKey val="0"/>
              <c:showVal val="1"/>
              <c:showCatName val="0"/>
              <c:showSerName val="0"/>
              <c:showPercent val="0"/>
              <c:showBubbleSize val="0"/>
            </c:dLbl>
            <c:dLbl>
              <c:idx val="6"/>
              <c:tx>
                <c:rich>
                  <a:bodyPr/>
                  <a:lstStyle/>
                  <a:p>
                    <a:r>
                      <a:t>85.64</a:t>
                    </a:r>
                  </a:p>
                </c:rich>
              </c:tx>
              <c:dLblPos val="t"/>
              <c:showLegendKey val="0"/>
              <c:showVal val="1"/>
              <c:showCatName val="0"/>
              <c:showSerName val="0"/>
              <c:showPercent val="0"/>
              <c:showBubbleSize val="0"/>
            </c:dLbl>
            <c:dLbl>
              <c:idx val="7"/>
              <c:tx>
                <c:rich>
                  <a:bodyPr/>
                  <a:lstStyle/>
                  <a:p>
                    <a:r>
                      <a:t>254.2</a:t>
                    </a:r>
                  </a:p>
                </c:rich>
              </c:tx>
              <c:dLblPos val="t"/>
              <c:showLegendKey val="0"/>
              <c:showVal val="1"/>
              <c:showCatName val="0"/>
              <c:showSerName val="0"/>
              <c:showPercent val="0"/>
              <c:showBubbleSize val="0"/>
            </c:dLbl>
            <c:dLbl>
              <c:idx val="8"/>
              <c:tx>
                <c:rich>
                  <a:bodyPr/>
                  <a:lstStyle/>
                  <a:p>
                    <a:r>
                      <a:t>281.61</a:t>
                    </a:r>
                  </a:p>
                </c:rich>
              </c:tx>
              <c:dLblPos val="t"/>
              <c:showLegendKey val="0"/>
              <c:showVal val="1"/>
              <c:showCatName val="0"/>
              <c:showSerName val="0"/>
              <c:showPercent val="0"/>
              <c:showBubbleSize val="0"/>
            </c:dLbl>
            <c:dLbl>
              <c:idx val="9"/>
              <c:tx>
                <c:rich>
                  <a:bodyPr/>
                  <a:lstStyle/>
                  <a:p>
                    <a:r>
                      <a:t>296.2</a:t>
                    </a:r>
                  </a:p>
                </c:rich>
              </c:tx>
              <c:dLblPos val="t"/>
              <c:showLegendKey val="0"/>
              <c:showVal val="1"/>
              <c:showCatName val="0"/>
              <c:showSerName val="0"/>
              <c:showPercent val="0"/>
              <c:showBubbleSize val="0"/>
            </c:dLbl>
            <c:dLbl>
              <c:idx val="10"/>
              <c:tx>
                <c:rich>
                  <a:bodyPr/>
                  <a:lstStyle/>
                  <a:p>
                    <a:r>
                      <a:t>290.34</a:t>
                    </a:r>
                  </a:p>
                </c:rich>
              </c:tx>
              <c:dLblPos val="t"/>
              <c:showLegendKey val="0"/>
              <c:showVal val="1"/>
              <c:showCatName val="0"/>
              <c:showSerName val="0"/>
              <c:showPercent val="0"/>
              <c:showBubbleSize val="0"/>
            </c:dLbl>
            <c:dLbl>
              <c:idx val="11"/>
              <c:tx>
                <c:rich>
                  <a:bodyPr/>
                  <a:lstStyle/>
                  <a:p>
                    <a:r>
                      <a:t>260.99</a:t>
                    </a:r>
                  </a:p>
                </c:rich>
              </c:tx>
              <c:dLblPos val="t"/>
              <c:showLegendKey val="0"/>
              <c:showVal val="1"/>
              <c:showCatName val="0"/>
              <c:showSerName val="0"/>
              <c:showPercent val="0"/>
              <c:showBubbleSize val="0"/>
            </c:dLbl>
            <c:dLbl>
              <c:idx val="12"/>
              <c:tx>
                <c:rich>
                  <a:bodyPr/>
                  <a:lstStyle/>
                  <a:p>
                    <a:r>
                      <a:t>323.66</a:t>
                    </a:r>
                  </a:p>
                </c:rich>
              </c:tx>
              <c:dLblPos val="t"/>
              <c:showLegendKey val="0"/>
              <c:showVal val="1"/>
              <c:showCatName val="0"/>
              <c:showSerName val="0"/>
              <c:showPercent val="0"/>
              <c:showBubbleSize val="0"/>
            </c:dLbl>
            <c:dLbl>
              <c:idx val="13"/>
              <c:tx>
                <c:rich>
                  <a:bodyPr/>
                  <a:lstStyle/>
                  <a:p>
                    <a:r>
                      <a:t>318.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236Ml</c:v>
                </c:pt>
                <c:pt idx="1">
                  <c:v>Edgewell Banana Boat Banded Pack Banded Pack 2X Sunscreen Multi 50+ 170Ml</c:v>
                </c:pt>
                <c:pt idx="2">
                  <c:v>Edgewell Banana Boat Mineral Sunscreen Adults Cosmetics Locion 50 180Ml</c:v>
                </c:pt>
                <c:pt idx="3">
                  <c:v>Edgewell Banana Boat Mineral Sunscreen Kids Cosmetics Locion 50 180Ml</c:v>
                </c:pt>
                <c:pt idx="4">
                  <c:v>Edgewell Banana Boat Advanced Protection Sunscreen Adults Cosmetics Liquido 50+ 240Ml</c:v>
                </c:pt>
                <c:pt idx="5">
                  <c:v>Edgewell Banana Boat Aqua Protect Sunscreen Adults Cosmetics Spray Liquido 50+ 170Ml</c:v>
                </c:pt>
                <c:pt idx="6">
                  <c:v>Edgewell Banana Boat Advanced Protection Sunscreen Adults Cosmetics Liquido 50+ 60Ml</c:v>
                </c:pt>
                <c:pt idx="7">
                  <c:v>Edgewell Banana Boat Advanced Protection Sunscreen Adults Cosmetics Liquido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Mineral Sunscreen Adults Sport Locion 50 180Ml</c:v>
                </c:pt>
                <c:pt idx="13">
                  <c:v>Edgewell Banana Boat Dry Balance Sunscreen Adults Sport Spray Liquido 50 220Ml</c:v>
                </c:pt>
              </c:strCache>
            </c:strRef>
          </c:cat>
          <c:val>
            <c:numRef>
              <c:f>Sheet1!$B$2:$B$16</c:f>
              <c:numCache>
                <c:formatCode>General</c:formatCode>
                <c:ptCount val="15"/>
                <c:pt idx="0">
                  <c:v>268.26</c:v>
                </c:pt>
                <c:pt idx="1">
                  <c:v>331.9</c:v>
                </c:pt>
                <c:pt idx="2">
                  <c:v>316.99</c:v>
                </c:pt>
                <c:pt idx="3">
                  <c:v>316.7</c:v>
                </c:pt>
                <c:pt idx="4">
                  <c:v>298.88</c:v>
                </c:pt>
                <c:pt idx="5">
                  <c:v>312.87</c:v>
                </c:pt>
                <c:pt idx="6">
                  <c:v>85.64</c:v>
                </c:pt>
                <c:pt idx="7">
                  <c:v>254.2</c:v>
                </c:pt>
                <c:pt idx="8">
                  <c:v>281.61</c:v>
                </c:pt>
                <c:pt idx="9">
                  <c:v>296.2</c:v>
                </c:pt>
                <c:pt idx="10">
                  <c:v>290.34</c:v>
                </c:pt>
                <c:pt idx="11">
                  <c:v>260.99</c:v>
                </c:pt>
                <c:pt idx="12">
                  <c:v>323.66</c:v>
                </c:pt>
                <c:pt idx="13">
                  <c:v>318.71</c:v>
                </c:pt>
                <c:pt idx="14">
                  <c:v>311.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70.09</a:t>
                    </a:r>
                  </a:p>
                </c:rich>
              </c:tx>
              <c:dLblPos val="t"/>
              <c:showLegendKey val="0"/>
              <c:showVal val="1"/>
              <c:showCatName val="0"/>
              <c:showSerName val="0"/>
              <c:showPercent val="0"/>
              <c:showBubbleSize val="0"/>
            </c:dLbl>
            <c:dLbl>
              <c:idx val="2"/>
              <c:tx>
                <c:rich>
                  <a:bodyPr/>
                  <a:lstStyle/>
                  <a:p>
                    <a:r>
                      <a:t>220.0</a:t>
                    </a:r>
                  </a:p>
                </c:rich>
              </c:tx>
              <c:dLblPos val="t"/>
              <c:showLegendKey val="0"/>
              <c:showVal val="1"/>
              <c:showCatName val="0"/>
              <c:showSerName val="0"/>
              <c:showPercent val="0"/>
              <c:showBubbleSize val="0"/>
            </c:dLbl>
            <c:dLbl>
              <c:idx val="3"/>
              <c:tx>
                <c:rich>
                  <a:bodyPr/>
                  <a:lstStyle/>
                  <a:p>
                    <a:r>
                      <a:t>258.0</a:t>
                    </a:r>
                  </a:p>
                </c:rich>
              </c:tx>
              <c:dLblPos val="t"/>
              <c:showLegendKey val="0"/>
              <c:showVal val="1"/>
              <c:showCatName val="0"/>
              <c:showSerName val="0"/>
              <c:showPercent val="0"/>
              <c:showBubbleSize val="0"/>
            </c:dLbl>
            <c:dLbl>
              <c:idx val="4"/>
              <c:tx>
                <c:rich>
                  <a:bodyPr/>
                  <a:lstStyle/>
                  <a:p>
                    <a:r>
                      <a:t>133.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strCache>
            </c:strRef>
          </c:cat>
          <c:val>
            <c:numRef>
              <c:f>Sheet1!$B$2:$B$6</c:f>
              <c:numCache>
                <c:formatCode>General</c:formatCode>
                <c:ptCount val="5"/>
                <c:pt idx="0">
                  <c:v>240.0</c:v>
                </c:pt>
                <c:pt idx="1">
                  <c:v>70.09</c:v>
                </c:pt>
                <c:pt idx="2">
                  <c:v>220.0</c:v>
                </c:pt>
                <c:pt idx="3">
                  <c:v>258.0</c:v>
                </c:pt>
                <c:pt idx="4">
                  <c:v>13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dLblPos val="t"/>
              <c:showLegendKey val="0"/>
              <c:showVal val="1"/>
              <c:showCatName val="0"/>
              <c:showSerName val="0"/>
              <c:showPercent val="0"/>
              <c:showBubbleSize val="0"/>
            </c:dLbl>
            <c:dLbl>
              <c:idx val="1"/>
              <c:tx>
                <c:rich>
                  <a:bodyPr/>
                  <a:lstStyle/>
                  <a:p>
                    <a:r>
                      <a:t>280.19</a:t>
                    </a:r>
                  </a:p>
                </c:rich>
              </c:tx>
              <c:dLblPos val="t"/>
              <c:showLegendKey val="0"/>
              <c:showVal val="1"/>
              <c:showCatName val="0"/>
              <c:showSerName val="0"/>
              <c:showPercent val="0"/>
              <c:showBubbleSize val="0"/>
            </c:dLbl>
            <c:dLbl>
              <c:idx val="2"/>
              <c:tx>
                <c:rich>
                  <a:bodyPr/>
                  <a:lstStyle/>
                  <a:p>
                    <a:r>
                      <a:t>230.57</a:t>
                    </a:r>
                  </a:p>
                </c:rich>
              </c:tx>
              <c:dLblPos val="t"/>
              <c:showLegendKey val="0"/>
              <c:showVal val="1"/>
              <c:showCatName val="0"/>
              <c:showSerName val="0"/>
              <c:showPercent val="0"/>
              <c:showBubbleSize val="0"/>
            </c:dLbl>
            <c:dLbl>
              <c:idx val="3"/>
              <c:tx>
                <c:rich>
                  <a:bodyPr/>
                  <a:lstStyle/>
                  <a:p>
                    <a:r>
                      <a:t>23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2.81</c:v>
                </c:pt>
                <c:pt idx="1">
                  <c:v>280.19</c:v>
                </c:pt>
                <c:pt idx="2">
                  <c:v>230.57</c:v>
                </c:pt>
                <c:pt idx="3">
                  <c:v>23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dLblPos val="t"/>
              <c:showLegendKey val="0"/>
              <c:showVal val="1"/>
              <c:showCatName val="0"/>
              <c:showSerName val="0"/>
              <c:showPercent val="0"/>
              <c:showBubbleSize val="0"/>
            </c:dLbl>
            <c:dLbl>
              <c:idx val="1"/>
              <c:tx>
                <c:rich>
                  <a:bodyPr/>
                  <a:lstStyle/>
                  <a:p>
                    <a:r>
                      <a:t>282.37</a:t>
                    </a:r>
                  </a:p>
                </c:rich>
              </c:tx>
              <c:dLblPos val="t"/>
              <c:showLegendKey val="0"/>
              <c:showVal val="1"/>
              <c:showCatName val="0"/>
              <c:showSerName val="0"/>
              <c:showPercent val="0"/>
              <c:showBubbleSize val="0"/>
            </c:dLbl>
            <c:dLbl>
              <c:idx val="2"/>
              <c:tx>
                <c:rich>
                  <a:bodyPr/>
                  <a:lstStyle/>
                  <a:p>
                    <a:r>
                      <a:t>258.13</a:t>
                    </a:r>
                  </a:p>
                </c:rich>
              </c:tx>
              <c:dLblPos val="t"/>
              <c:showLegendKey val="0"/>
              <c:showVal val="1"/>
              <c:showCatName val="0"/>
              <c:showSerName val="0"/>
              <c:showPercent val="0"/>
              <c:showBubbleSize val="0"/>
            </c:dLbl>
            <c:dLbl>
              <c:idx val="3"/>
              <c:tx>
                <c:rich>
                  <a:bodyPr/>
                  <a:lstStyle/>
                  <a:p>
                    <a:r>
                      <a:t>242.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3</c:v>
                </c:pt>
                <c:pt idx="1">
                  <c:v>282.37</c:v>
                </c:pt>
                <c:pt idx="2">
                  <c:v>258.13</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50+ 50Ml</c:v>
                </c:pt>
              </c:strCache>
            </c:strRef>
          </c:cat>
          <c:val>
            <c:numRef>
              <c:f>Sheet1!$B$2:$B$2</c:f>
              <c:numCache>
                <c:formatCode>General</c:formatCode>
                <c:ptCount val="1"/>
                <c:pt idx="0">
                  <c:v>36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9</a:t>
                    </a:r>
                  </a:p>
                </c:rich>
              </c:tx>
              <c:dLblPos val="t"/>
              <c:showLegendKey val="0"/>
              <c:showVal val="1"/>
              <c:showCatName val="0"/>
              <c:showSerName val="0"/>
              <c:showPercent val="0"/>
              <c:showBubbleSize val="0"/>
            </c:dLbl>
            <c:dLbl>
              <c:idx val="1"/>
              <c:tx>
                <c:rich>
                  <a:bodyPr/>
                  <a:lstStyle/>
                  <a:p>
                    <a:r>
                      <a:t>294.17</a:t>
                    </a:r>
                  </a:p>
                </c:rich>
              </c:tx>
              <c:dLblPos val="t"/>
              <c:showLegendKey val="0"/>
              <c:showVal val="1"/>
              <c:showCatName val="0"/>
              <c:showSerName val="0"/>
              <c:showPercent val="0"/>
              <c:showBubbleSize val="0"/>
            </c:dLbl>
            <c:dLbl>
              <c:idx val="2"/>
              <c:tx>
                <c:rich>
                  <a:bodyPr/>
                  <a:lstStyle/>
                  <a:p>
                    <a:r>
                      <a:t>104.39</a:t>
                    </a:r>
                  </a:p>
                </c:rich>
              </c:tx>
              <c:dLblPos val="t"/>
              <c:showLegendKey val="0"/>
              <c:showVal val="1"/>
              <c:showCatName val="0"/>
              <c:showSerName val="0"/>
              <c:showPercent val="0"/>
              <c:showBubbleSize val="0"/>
            </c:dLbl>
            <c:dLbl>
              <c:idx val="3"/>
              <c:tx>
                <c:rich>
                  <a:bodyPr/>
                  <a:lstStyle/>
                  <a:p>
                    <a:r>
                      <a:t>290.86</a:t>
                    </a:r>
                  </a:p>
                </c:rich>
              </c:tx>
              <c:dLblPos val="t"/>
              <c:showLegendKey val="0"/>
              <c:showVal val="1"/>
              <c:showCatName val="0"/>
              <c:showSerName val="0"/>
              <c:showPercent val="0"/>
              <c:showBubbleSize val="0"/>
            </c:dLbl>
            <c:dLbl>
              <c:idx val="4"/>
              <c:tx>
                <c:rich>
                  <a:bodyPr/>
                  <a:lstStyle/>
                  <a:p>
                    <a:r>
                      <a:t>282.91</a:t>
                    </a:r>
                  </a:p>
                </c:rich>
              </c:tx>
              <c:dLblPos val="t"/>
              <c:showLegendKey val="0"/>
              <c:showVal val="1"/>
              <c:showCatName val="0"/>
              <c:showSerName val="0"/>
              <c:showPercent val="0"/>
              <c:showBubbleSize val="0"/>
            </c:dLbl>
            <c:dLbl>
              <c:idx val="5"/>
              <c:tx>
                <c:rich>
                  <a:bodyPr/>
                  <a:lstStyle/>
                  <a:p>
                    <a:r>
                      <a:t>294.84</a:t>
                    </a:r>
                  </a:p>
                </c:rich>
              </c:tx>
              <c:dLblPos val="t"/>
              <c:showLegendKey val="0"/>
              <c:showVal val="1"/>
              <c:showCatName val="0"/>
              <c:showSerName val="0"/>
              <c:showPercent val="0"/>
              <c:showBubbleSize val="0"/>
            </c:dLbl>
            <c:dLbl>
              <c:idx val="6"/>
              <c:tx>
                <c:rich>
                  <a:bodyPr/>
                  <a:lstStyle/>
                  <a:p>
                    <a:r>
                      <a:t>287.44</a:t>
                    </a:r>
                  </a:p>
                </c:rich>
              </c:tx>
              <c:dLblPos val="t"/>
              <c:showLegendKey val="0"/>
              <c:showVal val="1"/>
              <c:showCatName val="0"/>
              <c:showSerName val="0"/>
              <c:showPercent val="0"/>
              <c:showBubbleSize val="0"/>
            </c:dLbl>
            <c:dLbl>
              <c:idx val="7"/>
              <c:tx>
                <c:rich>
                  <a:bodyPr/>
                  <a:lstStyle/>
                  <a:p>
                    <a:r>
                      <a:t>188.49</a:t>
                    </a:r>
                  </a:p>
                </c:rich>
              </c:tx>
              <c:dLblPos val="t"/>
              <c:showLegendKey val="0"/>
              <c:showVal val="1"/>
              <c:showCatName val="0"/>
              <c:showSerName val="0"/>
              <c:showPercent val="0"/>
              <c:showBubbleSize val="0"/>
            </c:dLbl>
            <c:dLbl>
              <c:idx val="8"/>
              <c:tx>
                <c:rich>
                  <a:bodyPr/>
                  <a:lstStyle/>
                  <a:p>
                    <a:r>
                      <a:t>101.82</a:t>
                    </a:r>
                  </a:p>
                </c:rich>
              </c:tx>
              <c:dLblPos val="t"/>
              <c:showLegendKey val="0"/>
              <c:showVal val="1"/>
              <c:showCatName val="0"/>
              <c:showSerName val="0"/>
              <c:showPercent val="0"/>
              <c:showBubbleSize val="0"/>
            </c:dLbl>
            <c:dLbl>
              <c:idx val="9"/>
              <c:tx>
                <c:rich>
                  <a:bodyPr/>
                  <a:lstStyle/>
                  <a:p>
                    <a:r>
                      <a:t>289.72</a:t>
                    </a:r>
                  </a:p>
                </c:rich>
              </c:tx>
              <c:dLblPos val="t"/>
              <c:showLegendKey val="0"/>
              <c:showVal val="1"/>
              <c:showCatName val="0"/>
              <c:showSerName val="0"/>
              <c:showPercent val="0"/>
              <c:showBubbleSize val="0"/>
            </c:dLbl>
            <c:dLbl>
              <c:idx val="10"/>
              <c:tx>
                <c:rich>
                  <a:bodyPr/>
                  <a:lstStyle/>
                  <a:p>
                    <a:r>
                      <a:t>184.24</a:t>
                    </a:r>
                  </a:p>
                </c:rich>
              </c:tx>
              <c:dLblPos val="t"/>
              <c:showLegendKey val="0"/>
              <c:showVal val="1"/>
              <c:showCatName val="0"/>
              <c:showSerName val="0"/>
              <c:showPercent val="0"/>
              <c:showBubbleSize val="0"/>
            </c:dLbl>
            <c:dLbl>
              <c:idx val="11"/>
              <c:tx>
                <c:rich>
                  <a:bodyPr/>
                  <a:lstStyle/>
                  <a:p>
                    <a:r>
                      <a:t>274.3</a:t>
                    </a:r>
                  </a:p>
                </c:rich>
              </c:tx>
              <c:dLblPos val="t"/>
              <c:showLegendKey val="0"/>
              <c:showVal val="1"/>
              <c:showCatName val="0"/>
              <c:showSerName val="0"/>
              <c:showPercent val="0"/>
              <c:showBubbleSize val="0"/>
            </c:dLbl>
            <c:dLbl>
              <c:idx val="12"/>
              <c:tx>
                <c:rich>
                  <a:bodyPr/>
                  <a:lstStyle/>
                  <a:p>
                    <a:r>
                      <a:t>286.0</a:t>
                    </a:r>
                  </a:p>
                </c:rich>
              </c:tx>
              <c:dLblPos val="t"/>
              <c:showLegendKey val="0"/>
              <c:showVal val="1"/>
              <c:showCatName val="0"/>
              <c:showSerName val="0"/>
              <c:showPercent val="0"/>
              <c:showBubbleSize val="0"/>
            </c:dLbl>
            <c:dLbl>
              <c:idx val="13"/>
              <c:tx>
                <c:rich>
                  <a:bodyPr/>
                  <a:lstStyle/>
                  <a:p>
                    <a:r>
                      <a:t>312.34</a:t>
                    </a:r>
                  </a:p>
                </c:rich>
              </c:tx>
              <c:dLblPos val="t"/>
              <c:showLegendKey val="0"/>
              <c:showVal val="1"/>
              <c:showCatName val="0"/>
              <c:showSerName val="0"/>
              <c:showPercent val="0"/>
              <c:showBubbleSize val="0"/>
            </c:dLbl>
            <c:dLbl>
              <c:idx val="14"/>
              <c:tx>
                <c:rich>
                  <a:bodyPr/>
                  <a:lstStyle/>
                  <a:p>
                    <a:r>
                      <a:t>92.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Tanning Sunscreen Adults Cosmetics Spray Liquido 15 - 19 220Ml</c:v>
                </c:pt>
                <c:pt idx="5">
                  <c:v>Edgewell Hawaiian Tropic Silk Hydration Sunscreen Adults Cosmetics Spray Liquido 50+ 180Ml</c:v>
                </c:pt>
                <c:pt idx="6">
                  <c:v>Edgewell Hawaiian Tropic Ozono Sunscreen Adults Cosmetics Liquido 50+ 180Ml</c:v>
                </c:pt>
                <c:pt idx="7">
                  <c:v>Edgewell Hawaiian Tropic Ozono Sunscreen Adults Cosmetics Liquido 50+ 12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86.89</c:v>
                </c:pt>
                <c:pt idx="1">
                  <c:v>294.17</c:v>
                </c:pt>
                <c:pt idx="2">
                  <c:v>104.39</c:v>
                </c:pt>
                <c:pt idx="3">
                  <c:v>290.86</c:v>
                </c:pt>
                <c:pt idx="4">
                  <c:v>282.91</c:v>
                </c:pt>
                <c:pt idx="5">
                  <c:v>294.84</c:v>
                </c:pt>
                <c:pt idx="6">
                  <c:v>287.44</c:v>
                </c:pt>
                <c:pt idx="7">
                  <c:v>188.49</c:v>
                </c:pt>
                <c:pt idx="8">
                  <c:v>101.82</c:v>
                </c:pt>
                <c:pt idx="9">
                  <c:v>289.72</c:v>
                </c:pt>
                <c:pt idx="10">
                  <c:v>184.24</c:v>
                </c:pt>
                <c:pt idx="11">
                  <c:v>274.3</c:v>
                </c:pt>
                <c:pt idx="12">
                  <c:v>286.0</c:v>
                </c:pt>
                <c:pt idx="13">
                  <c:v>312.34</c:v>
                </c:pt>
                <c:pt idx="14">
                  <c:v>9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309.18</a:t>
                    </a:r>
                  </a:p>
                </c:rich>
              </c:tx>
              <c:dLblPos val="t"/>
              <c:showLegendKey val="0"/>
              <c:showVal val="1"/>
              <c:showCatName val="0"/>
              <c:showSerName val="0"/>
              <c:showPercent val="0"/>
              <c:showBubbleSize val="0"/>
            </c:dLbl>
            <c:dLbl>
              <c:idx val="2"/>
              <c:tx>
                <c:rich>
                  <a:bodyPr/>
                  <a:lstStyle/>
                  <a:p>
                    <a:r>
                      <a:t>105.11</a:t>
                    </a:r>
                  </a:p>
                </c:rich>
              </c:tx>
              <c:dLblPos val="t"/>
              <c:showLegendKey val="0"/>
              <c:showVal val="1"/>
              <c:showCatName val="0"/>
              <c:showSerName val="0"/>
              <c:showPercent val="0"/>
              <c:showBubbleSize val="0"/>
            </c:dLbl>
            <c:dLbl>
              <c:idx val="3"/>
              <c:tx>
                <c:rich>
                  <a:bodyPr/>
                  <a:lstStyle/>
                  <a:p>
                    <a:r>
                      <a:t>302.74</a:t>
                    </a:r>
                  </a:p>
                </c:rich>
              </c:tx>
              <c:dLblPos val="t"/>
              <c:showLegendKey val="0"/>
              <c:showVal val="1"/>
              <c:showCatName val="0"/>
              <c:showSerName val="0"/>
              <c:showPercent val="0"/>
              <c:showBubbleSize val="0"/>
            </c:dLbl>
            <c:dLbl>
              <c:idx val="4"/>
              <c:tx>
                <c:rich>
                  <a:bodyPr/>
                  <a:lstStyle/>
                  <a:p>
                    <a:r>
                      <a:t>288.86</a:t>
                    </a:r>
                  </a:p>
                </c:rich>
              </c:tx>
              <c:dLblPos val="t"/>
              <c:showLegendKey val="0"/>
              <c:showVal val="1"/>
              <c:showCatName val="0"/>
              <c:showSerName val="0"/>
              <c:showPercent val="0"/>
              <c:showBubbleSize val="0"/>
            </c:dLbl>
            <c:dLbl>
              <c:idx val="5"/>
              <c:tx>
                <c:rich>
                  <a:bodyPr/>
                  <a:lstStyle/>
                  <a:p>
                    <a:r>
                      <a:t>305.21</a:t>
                    </a:r>
                  </a:p>
                </c:rich>
              </c:tx>
              <c:dLblPos val="t"/>
              <c:showLegendKey val="0"/>
              <c:showVal val="1"/>
              <c:showCatName val="0"/>
              <c:showSerName val="0"/>
              <c:showPercent val="0"/>
              <c:showBubbleSize val="0"/>
            </c:dLbl>
            <c:dLbl>
              <c:idx val="6"/>
              <c:tx>
                <c:rich>
                  <a:bodyPr/>
                  <a:lstStyle/>
                  <a:p>
                    <a:r>
                      <a:t>300.66</a:t>
                    </a:r>
                  </a:p>
                </c:rich>
              </c:tx>
              <c:dLblPos val="t"/>
              <c:showLegendKey val="0"/>
              <c:showVal val="1"/>
              <c:showCatName val="0"/>
              <c:showSerName val="0"/>
              <c:showPercent val="0"/>
              <c:showBubbleSize val="0"/>
            </c:dLbl>
            <c:dLbl>
              <c:idx val="7"/>
              <c:tx>
                <c:rich>
                  <a:bodyPr/>
                  <a:lstStyle/>
                  <a:p>
                    <a:r>
                      <a:t>189.33</a:t>
                    </a:r>
                  </a:p>
                </c:rich>
              </c:tx>
              <c:dLblPos val="t"/>
              <c:showLegendKey val="0"/>
              <c:showVal val="1"/>
              <c:showCatName val="0"/>
              <c:showSerName val="0"/>
              <c:showPercent val="0"/>
              <c:showBubbleSize val="0"/>
            </c:dLbl>
            <c:dLbl>
              <c:idx val="8"/>
              <c:tx>
                <c:rich>
                  <a:bodyPr/>
                  <a:lstStyle/>
                  <a:p>
                    <a:r>
                      <a:t>98.92</a:t>
                    </a:r>
                  </a:p>
                </c:rich>
              </c:tx>
              <c:dLblPos val="t"/>
              <c:showLegendKey val="0"/>
              <c:showVal val="1"/>
              <c:showCatName val="0"/>
              <c:showSerName val="0"/>
              <c:showPercent val="0"/>
              <c:showBubbleSize val="0"/>
            </c:dLbl>
            <c:dLbl>
              <c:idx val="9"/>
              <c:tx>
                <c:rich>
                  <a:bodyPr/>
                  <a:lstStyle/>
                  <a:p>
                    <a:r>
                      <a:t>295.5</a:t>
                    </a:r>
                  </a:p>
                </c:rich>
              </c:tx>
              <c:dLblPos val="t"/>
              <c:showLegendKey val="0"/>
              <c:showVal val="1"/>
              <c:showCatName val="0"/>
              <c:showSerName val="0"/>
              <c:showPercent val="0"/>
              <c:showBubbleSize val="0"/>
            </c:dLbl>
            <c:dLbl>
              <c:idx val="10"/>
              <c:tx>
                <c:rich>
                  <a:bodyPr/>
                  <a:lstStyle/>
                  <a:p>
                    <a:r>
                      <a:t>185.59</a:t>
                    </a:r>
                  </a:p>
                </c:rich>
              </c:tx>
              <c:dLblPos val="t"/>
              <c:showLegendKey val="0"/>
              <c:showVal val="1"/>
              <c:showCatName val="0"/>
              <c:showSerName val="0"/>
              <c:showPercent val="0"/>
              <c:showBubbleSize val="0"/>
            </c:dLbl>
            <c:dLbl>
              <c:idx val="11"/>
              <c:tx>
                <c:rich>
                  <a:bodyPr/>
                  <a:lstStyle/>
                  <a:p>
                    <a:r>
                      <a:t>282.36</a:t>
                    </a:r>
                  </a:p>
                </c:rich>
              </c:tx>
              <c:dLblPos val="t"/>
              <c:showLegendKey val="0"/>
              <c:showVal val="1"/>
              <c:showCatName val="0"/>
              <c:showSerName val="0"/>
              <c:showPercent val="0"/>
              <c:showBubbleSize val="0"/>
            </c:dLbl>
            <c:dLbl>
              <c:idx val="12"/>
              <c:tx>
                <c:rich>
                  <a:bodyPr/>
                  <a:lstStyle/>
                  <a:p>
                    <a:r>
                      <a:t>292.61</a:t>
                    </a:r>
                  </a:p>
                </c:rich>
              </c:tx>
              <c:dLblPos val="t"/>
              <c:showLegendKey val="0"/>
              <c:showVal val="1"/>
              <c:showCatName val="0"/>
              <c:showSerName val="0"/>
              <c:showPercent val="0"/>
              <c:showBubbleSize val="0"/>
            </c:dLbl>
            <c:dLbl>
              <c:idx val="13"/>
              <c:tx>
                <c:rich>
                  <a:bodyPr/>
                  <a:lstStyle/>
                  <a:p>
                    <a:r>
                      <a:t>323.42</a:t>
                    </a:r>
                  </a:p>
                </c:rich>
              </c:tx>
              <c:dLblPos val="t"/>
              <c:showLegendKey val="0"/>
              <c:showVal val="1"/>
              <c:showCatName val="0"/>
              <c:showSerName val="0"/>
              <c:showPercent val="0"/>
              <c:showBubbleSize val="0"/>
            </c:dLbl>
            <c:dLbl>
              <c:idx val="14"/>
              <c:tx>
                <c:rich>
                  <a:bodyPr/>
                  <a:lstStyle/>
                  <a:p>
                    <a:r>
                      <a:t>93.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Ozono Sunscreen Adults Cosmetics Liquido 50+ 90Ml</c:v>
                </c:pt>
                <c:pt idx="3">
                  <c:v>Edgewell Hawaiian Tropic Silk Hydration Sunscreen Adults Cosmetics Liquido 50 180Ml</c:v>
                </c:pt>
                <c:pt idx="4">
                  <c:v>Edgewell Hawaiian Tropic Tanning Sunscreen Adults Cosmetics Spray Liquido 15 - 19 220Ml</c:v>
                </c:pt>
                <c:pt idx="5">
                  <c:v>Edgewell Hawaiian Tropic Silk Hydration Sunscreen Adults Cosmetics Spray Liquido 50+ 180Ml</c:v>
                </c:pt>
                <c:pt idx="6">
                  <c:v>Edgewell Hawaiian Tropic Ozono Sunscreen Adults Cosmetics Liquido 50+ 180Ml</c:v>
                </c:pt>
                <c:pt idx="7">
                  <c:v>Edgewell Hawaiian Tropic Ozono Sunscreen Adults Cosmetics Liquido 50+ 12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91.91</c:v>
                </c:pt>
                <c:pt idx="1">
                  <c:v>309.18</c:v>
                </c:pt>
                <c:pt idx="2">
                  <c:v>105.11</c:v>
                </c:pt>
                <c:pt idx="3">
                  <c:v>302.74</c:v>
                </c:pt>
                <c:pt idx="4">
                  <c:v>288.86</c:v>
                </c:pt>
                <c:pt idx="5">
                  <c:v>305.21</c:v>
                </c:pt>
                <c:pt idx="6">
                  <c:v>300.66</c:v>
                </c:pt>
                <c:pt idx="7">
                  <c:v>189.33</c:v>
                </c:pt>
                <c:pt idx="8">
                  <c:v>98.92</c:v>
                </c:pt>
                <c:pt idx="9">
                  <c:v>295.5</c:v>
                </c:pt>
                <c:pt idx="10">
                  <c:v>185.59</c:v>
                </c:pt>
                <c:pt idx="11">
                  <c:v>282.36</c:v>
                </c:pt>
                <c:pt idx="12">
                  <c:v>292.61</c:v>
                </c:pt>
                <c:pt idx="13">
                  <c:v>323.42</c:v>
                </c:pt>
                <c:pt idx="14">
                  <c:v>93.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98</a:t>
                    </a:r>
                  </a:p>
                </c:rich>
              </c:tx>
              <c:dLblPos val="t"/>
              <c:showLegendKey val="0"/>
              <c:showVal val="1"/>
              <c:showCatName val="0"/>
              <c:showSerName val="0"/>
              <c:showPercent val="0"/>
              <c:showBubbleSize val="0"/>
            </c:dLbl>
            <c:dLbl>
              <c:idx val="1"/>
              <c:tx>
                <c:rich>
                  <a:bodyPr/>
                  <a:lstStyle/>
                  <a:p>
                    <a:r>
                      <a:t>313.29</a:t>
                    </a:r>
                  </a:p>
                </c:rich>
              </c:tx>
              <c:dLblPos val="t"/>
              <c:showLegendKey val="0"/>
              <c:showVal val="1"/>
              <c:showCatName val="0"/>
              <c:showSerName val="0"/>
              <c:showPercent val="0"/>
              <c:showBubbleSize val="0"/>
            </c:dLbl>
            <c:dLbl>
              <c:idx val="2"/>
              <c:tx>
                <c:rich>
                  <a:bodyPr/>
                  <a:lstStyle/>
                  <a:p>
                    <a:r>
                      <a:t>314.03</a:t>
                    </a:r>
                  </a:p>
                </c:rich>
              </c:tx>
              <c:dLblPos val="t"/>
              <c:showLegendKey val="0"/>
              <c:showVal val="1"/>
              <c:showCatName val="0"/>
              <c:showSerName val="0"/>
              <c:showPercent val="0"/>
              <c:showBubbleSize val="0"/>
            </c:dLbl>
            <c:dLbl>
              <c:idx val="3"/>
              <c:tx>
                <c:rich>
                  <a:bodyPr/>
                  <a:lstStyle/>
                  <a:p>
                    <a:r>
                      <a:t>383.56</a:t>
                    </a:r>
                  </a:p>
                </c:rich>
              </c:tx>
              <c:dLblPos val="t"/>
              <c:showLegendKey val="0"/>
              <c:showVal val="1"/>
              <c:showCatName val="0"/>
              <c:showSerName val="0"/>
              <c:showPercent val="0"/>
              <c:showBubbleSize val="0"/>
            </c:dLbl>
            <c:dLbl>
              <c:idx val="4"/>
              <c:tx>
                <c:rich>
                  <a:bodyPr/>
                  <a:lstStyle/>
                  <a:p>
                    <a:r>
                      <a:t>272.04</a:t>
                    </a:r>
                  </a:p>
                </c:rich>
              </c:tx>
              <c:dLblPos val="t"/>
              <c:showLegendKey val="0"/>
              <c:showVal val="1"/>
              <c:showCatName val="0"/>
              <c:showSerName val="0"/>
              <c:showPercent val="0"/>
              <c:showBubbleSize val="0"/>
            </c:dLbl>
            <c:dLbl>
              <c:idx val="5"/>
              <c:tx>
                <c:rich>
                  <a:bodyPr/>
                  <a:lstStyle/>
                  <a:p>
                    <a:r>
                      <a:t>265.35</a:t>
                    </a:r>
                  </a:p>
                </c:rich>
              </c:tx>
              <c:dLblPos val="t"/>
              <c:showLegendKey val="0"/>
              <c:showVal val="1"/>
              <c:showCatName val="0"/>
              <c:showSerName val="0"/>
              <c:showPercent val="0"/>
              <c:showBubbleSize val="0"/>
            </c:dLbl>
            <c:dLbl>
              <c:idx val="6"/>
              <c:tx>
                <c:rich>
                  <a:bodyPr/>
                  <a:lstStyle/>
                  <a:p>
                    <a:r>
                      <a:t>306.68</a:t>
                    </a:r>
                  </a:p>
                </c:rich>
              </c:tx>
              <c:dLblPos val="t"/>
              <c:showLegendKey val="0"/>
              <c:showVal val="1"/>
              <c:showCatName val="0"/>
              <c:showSerName val="0"/>
              <c:showPercent val="0"/>
              <c:showBubbleSize val="0"/>
            </c:dLbl>
            <c:dLbl>
              <c:idx val="7"/>
              <c:tx>
                <c:rich>
                  <a:bodyPr/>
                  <a:lstStyle/>
                  <a:p>
                    <a:r>
                      <a:t>250.9</a:t>
                    </a:r>
                  </a:p>
                </c:rich>
              </c:tx>
              <c:dLblPos val="t"/>
              <c:showLegendKey val="0"/>
              <c:showVal val="1"/>
              <c:showCatName val="0"/>
              <c:showSerName val="0"/>
              <c:showPercent val="0"/>
              <c:showBubbleSize val="0"/>
            </c:dLbl>
            <c:dLbl>
              <c:idx val="8"/>
              <c:tx>
                <c:rich>
                  <a:bodyPr/>
                  <a:lstStyle/>
                  <a:p>
                    <a:r>
                      <a:t>128.97</a:t>
                    </a:r>
                  </a:p>
                </c:rich>
              </c:tx>
              <c:dLblPos val="t"/>
              <c:showLegendKey val="0"/>
              <c:showVal val="1"/>
              <c:showCatName val="0"/>
              <c:showSerName val="0"/>
              <c:showPercent val="0"/>
              <c:showBubbleSize val="0"/>
            </c:dLbl>
            <c:dLbl>
              <c:idx val="9"/>
              <c:tx>
                <c:rich>
                  <a:bodyPr/>
                  <a:lstStyle/>
                  <a:p>
                    <a:r>
                      <a:t>94.41</a:t>
                    </a:r>
                  </a:p>
                </c:rich>
              </c:tx>
              <c:dLblPos val="t"/>
              <c:showLegendKey val="0"/>
              <c:showVal val="1"/>
              <c:showCatName val="0"/>
              <c:showSerName val="0"/>
              <c:showPercent val="0"/>
              <c:showBubbleSize val="0"/>
            </c:dLbl>
            <c:dLbl>
              <c:idx val="10"/>
              <c:tx>
                <c:rich>
                  <a:bodyPr/>
                  <a:lstStyle/>
                  <a:p>
                    <a:r>
                      <a:t>303.93</a:t>
                    </a:r>
                  </a:p>
                </c:rich>
              </c:tx>
              <c:dLblPos val="t"/>
              <c:showLegendKey val="0"/>
              <c:showVal val="1"/>
              <c:showCatName val="0"/>
              <c:showSerName val="0"/>
              <c:showPercent val="0"/>
              <c:showBubbleSize val="0"/>
            </c:dLbl>
            <c:dLbl>
              <c:idx val="11"/>
              <c:tx>
                <c:rich>
                  <a:bodyPr/>
                  <a:lstStyle/>
                  <a:p>
                    <a:r>
                      <a:t>186.66</a:t>
                    </a:r>
                  </a:p>
                </c:rich>
              </c:tx>
              <c:dLblPos val="t"/>
              <c:showLegendKey val="0"/>
              <c:showVal val="1"/>
              <c:showCatName val="0"/>
              <c:showSerName val="0"/>
              <c:showPercent val="0"/>
              <c:showBubbleSize val="0"/>
            </c:dLbl>
            <c:dLbl>
              <c:idx val="12"/>
              <c:tx>
                <c:rich>
                  <a:bodyPr/>
                  <a:lstStyle/>
                  <a:p>
                    <a:r>
                      <a:t>338.35</a:t>
                    </a:r>
                  </a:p>
                </c:rich>
              </c:tx>
              <c:dLblPos val="t"/>
              <c:showLegendKey val="0"/>
              <c:showVal val="1"/>
              <c:showCatName val="0"/>
              <c:showSerName val="0"/>
              <c:showPercent val="0"/>
              <c:showBubbleSize val="0"/>
            </c:dLbl>
            <c:dLbl>
              <c:idx val="13"/>
              <c:tx>
                <c:rich>
                  <a:bodyPr/>
                  <a:lstStyle/>
                  <a:p>
                    <a:r>
                      <a:t>322.45</a:t>
                    </a:r>
                  </a:p>
                </c:rich>
              </c:tx>
              <c:dLblPos val="t"/>
              <c:showLegendKey val="0"/>
              <c:showVal val="1"/>
              <c:showCatName val="0"/>
              <c:showSerName val="0"/>
              <c:showPercent val="0"/>
              <c:showBubbleSize val="0"/>
            </c:dLbl>
            <c:dLbl>
              <c:idx val="14"/>
              <c:tx>
                <c:rich>
                  <a:bodyPr/>
                  <a:lstStyle/>
                  <a:p>
                    <a:r>
                      <a:t>89.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Spray Liquido 50+ 180Ml</c:v>
                </c:pt>
                <c:pt idx="2">
                  <c:v>Edgewell Hawaiian Tropic Tanning Sunscreen Adults Cosmetics Spray Liquido 15 - 19 220Ml</c:v>
                </c:pt>
                <c:pt idx="3">
                  <c:v>Edgewell Hawaiian Tropic Silk Hydration Sunscreen Adults Cosmetics Liquido 50 180Ml</c:v>
                </c:pt>
                <c:pt idx="4">
                  <c:v>Edgewell Hawaiian Tropic Silk Hydration Sunscreen Adults Cosmetics Spray Liquido 50 150Ml</c:v>
                </c:pt>
                <c:pt idx="5">
                  <c:v>Edgewell Hawaiian Tropic Silk Hydration Sunscreen Adults Cosmetics Spray Liquido 50+ 180Ml</c:v>
                </c:pt>
                <c:pt idx="6">
                  <c:v>Edgewell Hawaiian Tropic Ozono Sunscreen Adults Cosmetics Liquido 50+ 180Ml</c:v>
                </c:pt>
                <c:pt idx="7">
                  <c:v>Edgewell Hawaiian Tropic Carrot Sunscreen Adults Cosmetics Spray Liquido 30 - 49 177Ml</c:v>
                </c:pt>
                <c:pt idx="8">
                  <c:v>Edgewell Hawaiian Tropic Ozono Sunscreen Adults Cosmetics Liquido 50+ 90Ml</c:v>
                </c:pt>
                <c:pt idx="9">
                  <c:v>Edgewell Hawaiian Tropic Sheer Touch Sunscreen Adults Cosmetics Liquido 30 - 49 60Ml</c:v>
                </c:pt>
                <c:pt idx="10">
                  <c:v>Edgewell Hawaiian Tropic Other Sunscreen Adults Cosmetics Crema 50+ 240Ml</c:v>
                </c:pt>
                <c:pt idx="11">
                  <c:v>Edgewell Hawaiian Tropic Sheer Touch Sunscreen Adults Cosmetics Crema 50 120Ml</c:v>
                </c:pt>
                <c:pt idx="12">
                  <c:v>Edgewell Hawaiian Tropic Island Sport Sunscreen Adults Sport Spray Liquido 50 220Ml</c:v>
                </c:pt>
                <c:pt idx="13">
                  <c:v>Edgewell Hawaiian Tropic Island Sport Sunscreen Adults Sport Liquido 50 240Ml</c:v>
                </c:pt>
                <c:pt idx="14">
                  <c:v>Edgewell Hawaiian Tropic Island Sport Sunscreen Adults Sport Liquido 50 60Ml</c:v>
                </c:pt>
              </c:strCache>
            </c:strRef>
          </c:cat>
          <c:val>
            <c:numRef>
              <c:f>Sheet1!$B$2:$B$16</c:f>
              <c:numCache>
                <c:formatCode>General</c:formatCode>
                <c:ptCount val="15"/>
                <c:pt idx="0">
                  <c:v>308.98</c:v>
                </c:pt>
                <c:pt idx="1">
                  <c:v>313.29</c:v>
                </c:pt>
                <c:pt idx="2">
                  <c:v>314.03</c:v>
                </c:pt>
                <c:pt idx="3">
                  <c:v>383.56</c:v>
                </c:pt>
                <c:pt idx="4">
                  <c:v>272.04</c:v>
                </c:pt>
                <c:pt idx="5">
                  <c:v>265.35</c:v>
                </c:pt>
                <c:pt idx="6">
                  <c:v>306.68</c:v>
                </c:pt>
                <c:pt idx="7">
                  <c:v>250.9</c:v>
                </c:pt>
                <c:pt idx="8">
                  <c:v>128.97</c:v>
                </c:pt>
                <c:pt idx="9">
                  <c:v>94.41</c:v>
                </c:pt>
                <c:pt idx="10">
                  <c:v>303.93</c:v>
                </c:pt>
                <c:pt idx="11">
                  <c:v>186.66</c:v>
                </c:pt>
                <c:pt idx="12">
                  <c:v>338.35</c:v>
                </c:pt>
                <c:pt idx="13">
                  <c:v>322.45</c:v>
                </c:pt>
                <c:pt idx="14">
                  <c:v>89.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75</a:t>
                    </a:r>
                  </a:p>
                </c:rich>
              </c:tx>
              <c:dLblPos val="t"/>
              <c:showLegendKey val="0"/>
              <c:showVal val="1"/>
              <c:showCatName val="0"/>
              <c:showSerName val="0"/>
              <c:showPercent val="0"/>
              <c:showBubbleSize val="0"/>
            </c:dLbl>
            <c:dLbl>
              <c:idx val="1"/>
              <c:tx>
                <c:rich>
                  <a:bodyPr/>
                  <a:lstStyle/>
                  <a:p>
                    <a:r>
                      <a:t>218.42</a:t>
                    </a:r>
                  </a:p>
                </c:rich>
              </c:tx>
              <c:dLblPos val="t"/>
              <c:showLegendKey val="0"/>
              <c:showVal val="1"/>
              <c:showCatName val="0"/>
              <c:showSerName val="0"/>
              <c:showPercent val="0"/>
              <c:showBubbleSize val="0"/>
            </c:dLbl>
            <c:dLbl>
              <c:idx val="2"/>
              <c:tx>
                <c:rich>
                  <a:bodyPr/>
                  <a:lstStyle/>
                  <a:p>
                    <a:r>
                      <a:t>258.0</a:t>
                    </a:r>
                  </a:p>
                </c:rich>
              </c:tx>
              <c:dLblPos val="t"/>
              <c:showLegendKey val="0"/>
              <c:showVal val="1"/>
              <c:showCatName val="0"/>
              <c:showSerName val="0"/>
              <c:showPercent val="0"/>
              <c:showBubbleSize val="0"/>
            </c:dLbl>
            <c:dLbl>
              <c:idx val="3"/>
              <c:tx>
                <c:rich>
                  <a:bodyPr/>
                  <a:lstStyle/>
                  <a:p>
                    <a:r>
                      <a:t>281.29</a:t>
                    </a:r>
                  </a:p>
                </c:rich>
              </c:tx>
              <c:dLblPos val="t"/>
              <c:showLegendKey val="0"/>
              <c:showVal val="1"/>
              <c:showCatName val="0"/>
              <c:showSerName val="0"/>
              <c:showPercent val="0"/>
              <c:showBubbleSize val="0"/>
            </c:dLbl>
            <c:dLbl>
              <c:idx val="4"/>
              <c:tx>
                <c:rich>
                  <a:bodyPr/>
                  <a:lstStyle/>
                  <a:p>
                    <a:r>
                      <a:t>244.51</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79.12</a:t>
                    </a:r>
                  </a:p>
                </c:rich>
              </c:tx>
              <c:dLblPos val="t"/>
              <c:showLegendKey val="0"/>
              <c:showVal val="1"/>
              <c:showCatName val="0"/>
              <c:showSerName val="0"/>
              <c:showPercent val="0"/>
              <c:showBubbleSize val="0"/>
            </c:dLbl>
            <c:dLbl>
              <c:idx val="7"/>
              <c:tx>
                <c:rich>
                  <a:bodyPr/>
                  <a:lstStyle/>
                  <a:p>
                    <a:r>
                      <a:t>88.0</a:t>
                    </a:r>
                  </a:p>
                </c:rich>
              </c:tx>
              <c:dLblPos val="t"/>
              <c:showLegendKey val="0"/>
              <c:showVal val="1"/>
              <c:showCatName val="0"/>
              <c:showSerName val="0"/>
              <c:showPercent val="0"/>
              <c:showBubbleSize val="0"/>
            </c:dLbl>
            <c:dLbl>
              <c:idx val="8"/>
              <c:tx>
                <c:rich>
                  <a:bodyPr/>
                  <a:lstStyle/>
                  <a:p>
                    <a:r>
                      <a:t>235.9</a:t>
                    </a:r>
                  </a:p>
                </c:rich>
              </c:tx>
              <c:dLblPos val="t"/>
              <c:showLegendKey val="0"/>
              <c:showVal val="1"/>
              <c:showCatName val="0"/>
              <c:showSerName val="0"/>
              <c:showPercent val="0"/>
              <c:showBubbleSize val="0"/>
            </c:dLbl>
            <c:dLbl>
              <c:idx val="9"/>
              <c:tx>
                <c:rich>
                  <a:bodyPr/>
                  <a:lstStyle/>
                  <a:p>
                    <a:r>
                      <a:t>253.23</a:t>
                    </a:r>
                  </a:p>
                </c:rich>
              </c:tx>
              <c:dLblPos val="t"/>
              <c:showLegendKey val="0"/>
              <c:showVal val="1"/>
              <c:showCatName val="0"/>
              <c:showSerName val="0"/>
              <c:showPercent val="0"/>
              <c:showBubbleSize val="0"/>
            </c:dLbl>
            <c:dLbl>
              <c:idx val="10"/>
              <c:tx>
                <c:rich>
                  <a:bodyPr/>
                  <a:lstStyle/>
                  <a:p>
                    <a:r>
                      <a:t>72.25</a:t>
                    </a:r>
                  </a:p>
                </c:rich>
              </c:tx>
              <c:dLblPos val="t"/>
              <c:showLegendKey val="0"/>
              <c:showVal val="1"/>
              <c:showCatName val="0"/>
              <c:showSerName val="0"/>
              <c:showPercent val="0"/>
              <c:showBubbleSize val="0"/>
            </c:dLbl>
            <c:dLbl>
              <c:idx val="11"/>
              <c:tx>
                <c:rich>
                  <a:bodyPr/>
                  <a:lstStyle/>
                  <a:p>
                    <a:r>
                      <a:t>22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ther Sunscreen Adults Cosmetics Crema 50+ 240Ml</c:v>
                </c:pt>
                <c:pt idx="1">
                  <c:v>Edgewell Hawaiian Tropic Sheer Touch Sunscreen Adults Cosmetics Crema 50 120Ml</c:v>
                </c:pt>
                <c:pt idx="2">
                  <c:v>Edgewell Hawaiian Tropic Baby Sunscreen Baby Cosmetics Crema 50+ 240Ml</c:v>
                </c:pt>
                <c:pt idx="3">
                  <c:v>Edgewell Hawaiian Tropic Ozono Sunscreen Adults Cosmetics Liquido 50+ 180Ml</c:v>
                </c:pt>
                <c:pt idx="4">
                  <c:v>Edgewell Hawaiian Tropic Ozono Sunscreen Adults Cosmetics Liquido 50+ 240Ml</c:v>
                </c:pt>
                <c:pt idx="5">
                  <c:v>Edgewell Hawaiian Tropic Sheer Touch Sunscreen Adults Cosmetics Liquido 30 - 49 60Ml</c:v>
                </c:pt>
                <c:pt idx="6">
                  <c:v>Edgewell Hawaiian Tropic Ozono Sunscreen Adults Cosmetics Spray Liquido 50+ 180Ml</c:v>
                </c:pt>
                <c:pt idx="7">
                  <c:v>Edgewell Hawaiian Tropic Ozono Sunscreen Adults Cosmetics Liquido 50+ 90Ml</c:v>
                </c:pt>
                <c:pt idx="8">
                  <c:v>Edgewell Hawaiian Tropic Other Sunscreen Adults Cosmetics Liquido 50 60Ml</c:v>
                </c:pt>
                <c:pt idx="9">
                  <c:v>Edgewell Hawaiian Tropic Island Sport Sunscreen Adults Sport Liquido 50 240Ml</c:v>
                </c:pt>
                <c:pt idx="10">
                  <c:v>Edgewell Hawaiian Tropic Island Sport Sunscreen Adults Sport Liquido 50 60Ml</c:v>
                </c:pt>
                <c:pt idx="11">
                  <c:v>Edgewell Hawaiian Tropic Island Sport Sunscreen Adults Sport Spray Liquido 50 220Ml</c:v>
                </c:pt>
              </c:strCache>
            </c:strRef>
          </c:cat>
          <c:val>
            <c:numRef>
              <c:f>Sheet1!$B$2:$B$13</c:f>
              <c:numCache>
                <c:formatCode>General</c:formatCode>
                <c:ptCount val="12"/>
                <c:pt idx="0">
                  <c:v>250.75</c:v>
                </c:pt>
                <c:pt idx="1">
                  <c:v>218.42</c:v>
                </c:pt>
                <c:pt idx="2">
                  <c:v>258.0</c:v>
                </c:pt>
                <c:pt idx="3">
                  <c:v>281.29</c:v>
                </c:pt>
                <c:pt idx="4">
                  <c:v>244.51</c:v>
                </c:pt>
                <c:pt idx="5">
                  <c:v>133.0</c:v>
                </c:pt>
                <c:pt idx="6">
                  <c:v>279.12</c:v>
                </c:pt>
                <c:pt idx="7">
                  <c:v>88.0</c:v>
                </c:pt>
                <c:pt idx="8">
                  <c:v>235.9</c:v>
                </c:pt>
                <c:pt idx="9">
                  <c:v>253.23</c:v>
                </c:pt>
                <c:pt idx="10">
                  <c:v>72.25</c:v>
                </c:pt>
                <c:pt idx="11">
                  <c:v>22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5</a:t>
                    </a:r>
                  </a:p>
                </c:rich>
              </c:tx>
              <c:dLblPos val="t"/>
              <c:showLegendKey val="0"/>
              <c:showVal val="1"/>
              <c:showCatName val="0"/>
              <c:showSerName val="0"/>
              <c:showPercent val="0"/>
              <c:showBubbleSize val="0"/>
            </c:dLbl>
            <c:dLbl>
              <c:idx val="1"/>
              <c:tx>
                <c:rich>
                  <a:bodyPr/>
                  <a:lstStyle/>
                  <a:p>
                    <a:r>
                      <a:t>104.26</a:t>
                    </a:r>
                  </a:p>
                </c:rich>
              </c:tx>
              <c:dLblPos val="t"/>
              <c:showLegendKey val="0"/>
              <c:showVal val="1"/>
              <c:showCatName val="0"/>
              <c:showSerName val="0"/>
              <c:showPercent val="0"/>
              <c:showBubbleSize val="0"/>
            </c:dLbl>
            <c:dLbl>
              <c:idx val="2"/>
              <c:tx>
                <c:rich>
                  <a:bodyPr/>
                  <a:lstStyle/>
                  <a:p>
                    <a:r>
                      <a:t>309.91</a:t>
                    </a:r>
                  </a:p>
                </c:rich>
              </c:tx>
              <c:dLblPos val="t"/>
              <c:showLegendKey val="0"/>
              <c:showVal val="1"/>
              <c:showCatName val="0"/>
              <c:showSerName val="0"/>
              <c:showPercent val="0"/>
              <c:showBubbleSize val="0"/>
            </c:dLbl>
            <c:dLbl>
              <c:idx val="3"/>
              <c:tx>
                <c:rich>
                  <a:bodyPr/>
                  <a:lstStyle/>
                  <a:p>
                    <a:r>
                      <a:t>293.24</a:t>
                    </a:r>
                  </a:p>
                </c:rich>
              </c:tx>
              <c:dLblPos val="t"/>
              <c:showLegendKey val="0"/>
              <c:showVal val="1"/>
              <c:showCatName val="0"/>
              <c:showSerName val="0"/>
              <c:showPercent val="0"/>
              <c:showBubbleSize val="0"/>
            </c:dLbl>
            <c:dLbl>
              <c:idx val="4"/>
              <c:tx>
                <c:rich>
                  <a:bodyPr/>
                  <a:lstStyle/>
                  <a:p>
                    <a:r>
                      <a:t>190.66</a:t>
                    </a:r>
                  </a:p>
                </c:rich>
              </c:tx>
              <c:dLblPos val="t"/>
              <c:showLegendKey val="0"/>
              <c:showVal val="1"/>
              <c:showCatName val="0"/>
              <c:showSerName val="0"/>
              <c:showPercent val="0"/>
              <c:showBubbleSize val="0"/>
            </c:dLbl>
            <c:dLbl>
              <c:idx val="5"/>
              <c:tx>
                <c:rich>
                  <a:bodyPr/>
                  <a:lstStyle/>
                  <a:p>
                    <a:r>
                      <a:t>317.75</a:t>
                    </a:r>
                  </a:p>
                </c:rich>
              </c:tx>
              <c:dLblPos val="t"/>
              <c:showLegendKey val="0"/>
              <c:showVal val="1"/>
              <c:showCatName val="0"/>
              <c:showSerName val="0"/>
              <c:showPercent val="0"/>
              <c:showBubbleSize val="0"/>
            </c:dLbl>
            <c:dLbl>
              <c:idx val="6"/>
              <c:tx>
                <c:rich>
                  <a:bodyPr/>
                  <a:lstStyle/>
                  <a:p>
                    <a:r>
                      <a:t>300.09</a:t>
                    </a:r>
                  </a:p>
                </c:rich>
              </c:tx>
              <c:dLblPos val="t"/>
              <c:showLegendKey val="0"/>
              <c:showVal val="1"/>
              <c:showCatName val="0"/>
              <c:showSerName val="0"/>
              <c:showPercent val="0"/>
              <c:showBubbleSize val="0"/>
            </c:dLbl>
            <c:dLbl>
              <c:idx val="7"/>
              <c:tx>
                <c:rich>
                  <a:bodyPr/>
                  <a:lstStyle/>
                  <a:p>
                    <a:r>
                      <a:t>278.53</a:t>
                    </a:r>
                  </a:p>
                </c:rich>
              </c:tx>
              <c:dLblPos val="t"/>
              <c:showLegendKey val="0"/>
              <c:showVal val="1"/>
              <c:showCatName val="0"/>
              <c:showSerName val="0"/>
              <c:showPercent val="0"/>
              <c:showBubbleSize val="0"/>
            </c:dLbl>
            <c:dLbl>
              <c:idx val="8"/>
              <c:tx>
                <c:rich>
                  <a:bodyPr/>
                  <a:lstStyle/>
                  <a:p>
                    <a:r>
                      <a:t>98.83</a:t>
                    </a:r>
                  </a:p>
                </c:rich>
              </c:tx>
              <c:dLblPos val="t"/>
              <c:showLegendKey val="0"/>
              <c:showVal val="1"/>
              <c:showCatName val="0"/>
              <c:showSerName val="0"/>
              <c:showPercent val="0"/>
              <c:showBubbleSize val="0"/>
            </c:dLbl>
            <c:dLbl>
              <c:idx val="9"/>
              <c:tx>
                <c:rich>
                  <a:bodyPr/>
                  <a:lstStyle/>
                  <a:p>
                    <a:r>
                      <a:t>294.74</a:t>
                    </a:r>
                  </a:p>
                </c:rich>
              </c:tx>
              <c:dLblPos val="t"/>
              <c:showLegendKey val="0"/>
              <c:showVal val="1"/>
              <c:showCatName val="0"/>
              <c:showSerName val="0"/>
              <c:showPercent val="0"/>
              <c:showBubbleSize val="0"/>
            </c:dLbl>
            <c:dLbl>
              <c:idx val="10"/>
              <c:tx>
                <c:rich>
                  <a:bodyPr/>
                  <a:lstStyle/>
                  <a:p>
                    <a:r>
                      <a:t>185.41</a:t>
                    </a:r>
                  </a:p>
                </c:rich>
              </c:tx>
              <c:dLblPos val="t"/>
              <c:showLegendKey val="0"/>
              <c:showVal val="1"/>
              <c:showCatName val="0"/>
              <c:showSerName val="0"/>
              <c:showPercent val="0"/>
              <c:showBubbleSize val="0"/>
            </c:dLbl>
            <c:dLbl>
              <c:idx val="11"/>
              <c:tx>
                <c:rich>
                  <a:bodyPr/>
                  <a:lstStyle/>
                  <a:p>
                    <a:r>
                      <a:t>281.66</a:t>
                    </a:r>
                  </a:p>
                </c:rich>
              </c:tx>
              <c:dLblPos val="t"/>
              <c:showLegendKey val="0"/>
              <c:showVal val="1"/>
              <c:showCatName val="0"/>
              <c:showSerName val="0"/>
              <c:showPercent val="0"/>
              <c:showBubbleSize val="0"/>
            </c:dLbl>
            <c:dLbl>
              <c:idx val="12"/>
              <c:tx>
                <c:rich>
                  <a:bodyPr/>
                  <a:lstStyle/>
                  <a:p>
                    <a:r>
                      <a:t>285.74</a:t>
                    </a:r>
                  </a:p>
                </c:rich>
              </c:tx>
              <c:dLblPos val="t"/>
              <c:showLegendKey val="0"/>
              <c:showVal val="1"/>
              <c:showCatName val="0"/>
              <c:showSerName val="0"/>
              <c:showPercent val="0"/>
              <c:showBubbleSize val="0"/>
            </c:dLbl>
            <c:dLbl>
              <c:idx val="13"/>
              <c:tx>
                <c:rich>
                  <a:bodyPr/>
                  <a:lstStyle/>
                  <a:p>
                    <a:r>
                      <a:t>314.89</a:t>
                    </a:r>
                  </a:p>
                </c:rich>
              </c:tx>
              <c:dLblPos val="t"/>
              <c:showLegendKey val="0"/>
              <c:showVal val="1"/>
              <c:showCatName val="0"/>
              <c:showSerName val="0"/>
              <c:showPercent val="0"/>
              <c:showBubbleSize val="0"/>
            </c:dLbl>
            <c:dLbl>
              <c:idx val="14"/>
              <c:tx>
                <c:rich>
                  <a:bodyPr/>
                  <a:lstStyle/>
                  <a:p>
                    <a:r>
                      <a:t>94.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Ozono Sunscreen Adults Cosmetics Spray Liquido 50+ 180Ml</c:v>
                </c:pt>
                <c:pt idx="3">
                  <c:v>Edgewell Hawaiian Tropic Silk Hydration Sunscreen Adults Cosmetics Liquido 50 180Ml</c:v>
                </c:pt>
                <c:pt idx="4">
                  <c:v>Edgewell Hawaiian Tropic Ozono Sunscreen Adults Cosmetics Liquido 50+ 120Ml</c:v>
                </c:pt>
                <c:pt idx="5">
                  <c:v>Edgewell Hawaiian Tropic Silk Hydration Sunscreen Adults Cosmetics Spray Liquido 50+ 180Ml</c:v>
                </c:pt>
                <c:pt idx="6">
                  <c:v>Edgewell Hawaiian Tropic Ozono Sunscreen Adults Cosmetics Liquido 50+ 180Ml</c:v>
                </c:pt>
                <c:pt idx="7">
                  <c:v>Edgewell Hawaiian Tropic Tanning Sunscreen Adults Cosmetics Spray Liquido 15 - 19 220Ml</c:v>
                </c:pt>
                <c:pt idx="8">
                  <c:v>Edgewell Hawaiian Tropic Sheer Touch Sunscreen Adults Cosmetics Liquido 30 - 49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85.75</c:v>
                </c:pt>
                <c:pt idx="1">
                  <c:v>104.26</c:v>
                </c:pt>
                <c:pt idx="2">
                  <c:v>309.91</c:v>
                </c:pt>
                <c:pt idx="3">
                  <c:v>293.24</c:v>
                </c:pt>
                <c:pt idx="4">
                  <c:v>190.66</c:v>
                </c:pt>
                <c:pt idx="5">
                  <c:v>317.75</c:v>
                </c:pt>
                <c:pt idx="6">
                  <c:v>300.09</c:v>
                </c:pt>
                <c:pt idx="7">
                  <c:v>278.53</c:v>
                </c:pt>
                <c:pt idx="8">
                  <c:v>98.83</c:v>
                </c:pt>
                <c:pt idx="9">
                  <c:v>294.74</c:v>
                </c:pt>
                <c:pt idx="10">
                  <c:v>185.41</c:v>
                </c:pt>
                <c:pt idx="11">
                  <c:v>281.66</c:v>
                </c:pt>
                <c:pt idx="12">
                  <c:v>285.74</c:v>
                </c:pt>
                <c:pt idx="13">
                  <c:v>314.89</c:v>
                </c:pt>
                <c:pt idx="14">
                  <c:v>94.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6</a:t>
                    </a:r>
                  </a:p>
                </c:rich>
              </c:tx>
              <c:dLblPos val="t"/>
              <c:showLegendKey val="0"/>
              <c:showVal val="1"/>
              <c:showCatName val="0"/>
              <c:showSerName val="0"/>
              <c:showPercent val="0"/>
              <c:showBubbleSize val="0"/>
            </c:dLbl>
            <c:dLbl>
              <c:idx val="1"/>
              <c:tx>
                <c:rich>
                  <a:bodyPr/>
                  <a:lstStyle/>
                  <a:p>
                    <a:r>
                      <a:t>281.45</a:t>
                    </a:r>
                  </a:p>
                </c:rich>
              </c:tx>
              <c:dLblPos val="t"/>
              <c:showLegendKey val="0"/>
              <c:showVal val="1"/>
              <c:showCatName val="0"/>
              <c:showSerName val="0"/>
              <c:showPercent val="0"/>
              <c:showBubbleSize val="0"/>
            </c:dLbl>
            <c:dLbl>
              <c:idx val="2"/>
              <c:tx>
                <c:rich>
                  <a:bodyPr/>
                  <a:lstStyle/>
                  <a:p>
                    <a:r>
                      <a:t>82.86</a:t>
                    </a:r>
                  </a:p>
                </c:rich>
              </c:tx>
              <c:dLblPos val="t"/>
              <c:showLegendKey val="0"/>
              <c:showVal val="1"/>
              <c:showCatName val="0"/>
              <c:showSerName val="0"/>
              <c:showPercent val="0"/>
              <c:showBubbleSize val="0"/>
            </c:dLbl>
            <c:dLbl>
              <c:idx val="3"/>
              <c:tx>
                <c:rich>
                  <a:bodyPr/>
                  <a:lstStyle/>
                  <a:p>
                    <a:r>
                      <a:t>239.97</a:t>
                    </a:r>
                  </a:p>
                </c:rich>
              </c:tx>
              <c:dLblPos val="t"/>
              <c:showLegendKey val="0"/>
              <c:showVal val="1"/>
              <c:showCatName val="0"/>
              <c:showSerName val="0"/>
              <c:showPercent val="0"/>
              <c:showBubbleSize val="0"/>
            </c:dLbl>
            <c:dLbl>
              <c:idx val="4"/>
              <c:tx>
                <c:rich>
                  <a:bodyPr/>
                  <a:lstStyle/>
                  <a:p>
                    <a:r>
                      <a:t>254.7</a:t>
                    </a:r>
                  </a:p>
                </c:rich>
              </c:tx>
              <c:dLblPos val="t"/>
              <c:showLegendKey val="0"/>
              <c:showVal val="1"/>
              <c:showCatName val="0"/>
              <c:showSerName val="0"/>
              <c:showPercent val="0"/>
              <c:showBubbleSize val="0"/>
            </c:dLbl>
            <c:dLbl>
              <c:idx val="5"/>
              <c:tx>
                <c:rich>
                  <a:bodyPr/>
                  <a:lstStyle/>
                  <a:p>
                    <a:r>
                      <a:t>326.42</a:t>
                    </a:r>
                  </a:p>
                </c:rich>
              </c:tx>
              <c:dLblPos val="t"/>
              <c:showLegendKey val="0"/>
              <c:showVal val="1"/>
              <c:showCatName val="0"/>
              <c:showSerName val="0"/>
              <c:showPercent val="0"/>
              <c:showBubbleSize val="0"/>
            </c:dLbl>
            <c:dLbl>
              <c:idx val="6"/>
              <c:tx>
                <c:rich>
                  <a:bodyPr/>
                  <a:lstStyle/>
                  <a:p>
                    <a:r>
                      <a:t>319.23</a:t>
                    </a:r>
                  </a:p>
                </c:rich>
              </c:tx>
              <c:dLblPos val="t"/>
              <c:showLegendKey val="0"/>
              <c:showVal val="1"/>
              <c:showCatName val="0"/>
              <c:showSerName val="0"/>
              <c:showPercent val="0"/>
              <c:showBubbleSize val="0"/>
            </c:dLbl>
            <c:dLbl>
              <c:idx val="7"/>
              <c:tx>
                <c:rich>
                  <a:bodyPr/>
                  <a:lstStyle/>
                  <a:p>
                    <a:r>
                      <a:t>312.31</a:t>
                    </a:r>
                  </a:p>
                </c:rich>
              </c:tx>
              <c:dLblPos val="t"/>
              <c:showLegendKey val="0"/>
              <c:showVal val="1"/>
              <c:showCatName val="0"/>
              <c:showSerName val="0"/>
              <c:showPercent val="0"/>
              <c:showBubbleSize val="0"/>
            </c:dLbl>
            <c:dLbl>
              <c:idx val="8"/>
              <c:tx>
                <c:rich>
                  <a:bodyPr/>
                  <a:lstStyle/>
                  <a:p>
                    <a:r>
                      <a:t>278.07</a:t>
                    </a:r>
                  </a:p>
                </c:rich>
              </c:tx>
              <c:dLblPos val="t"/>
              <c:showLegendKey val="0"/>
              <c:showVal val="1"/>
              <c:showCatName val="0"/>
              <c:showSerName val="0"/>
              <c:showPercent val="0"/>
              <c:showBubbleSize val="0"/>
            </c:dLbl>
            <c:dLbl>
              <c:idx val="9"/>
              <c:tx>
                <c:rich>
                  <a:bodyPr/>
                  <a:lstStyle/>
                  <a:p>
                    <a:r>
                      <a:t>292.13</a:t>
                    </a:r>
                  </a:p>
                </c:rich>
              </c:tx>
              <c:dLblPos val="t"/>
              <c:showLegendKey val="0"/>
              <c:showVal val="1"/>
              <c:showCatName val="0"/>
              <c:showSerName val="0"/>
              <c:showPercent val="0"/>
              <c:showBubbleSize val="0"/>
            </c:dLbl>
            <c:dLbl>
              <c:idx val="10"/>
              <c:tx>
                <c:rich>
                  <a:bodyPr/>
                  <a:lstStyle/>
                  <a:p>
                    <a:r>
                      <a:t>268.09</a:t>
                    </a:r>
                  </a:p>
                </c:rich>
              </c:tx>
              <c:dLblPos val="t"/>
              <c:showLegendKey val="0"/>
              <c:showVal val="1"/>
              <c:showCatName val="0"/>
              <c:showSerName val="0"/>
              <c:showPercent val="0"/>
              <c:showBubbleSize val="0"/>
            </c:dLbl>
            <c:dLbl>
              <c:idx val="11"/>
              <c:tx>
                <c:rich>
                  <a:bodyPr/>
                  <a:lstStyle/>
                  <a:p>
                    <a:r>
                      <a:t>240.15</a:t>
                    </a:r>
                  </a:p>
                </c:rich>
              </c:tx>
              <c:dLblPos val="t"/>
              <c:showLegendKey val="0"/>
              <c:showVal val="1"/>
              <c:showCatName val="0"/>
              <c:showSerName val="0"/>
              <c:showPercent val="0"/>
              <c:showBubbleSize val="0"/>
            </c:dLbl>
            <c:dLbl>
              <c:idx val="12"/>
              <c:tx>
                <c:rich>
                  <a:bodyPr/>
                  <a:lstStyle/>
                  <a:p>
                    <a:r>
                      <a:t>293.59</a:t>
                    </a:r>
                  </a:p>
                </c:rich>
              </c:tx>
              <c:dLblPos val="t"/>
              <c:showLegendKey val="0"/>
              <c:showVal val="1"/>
              <c:showCatName val="0"/>
              <c:showSerName val="0"/>
              <c:showPercent val="0"/>
              <c:showBubbleSize val="0"/>
            </c:dLbl>
            <c:dLbl>
              <c:idx val="13"/>
              <c:tx>
                <c:rich>
                  <a:bodyPr/>
                  <a:lstStyle/>
                  <a:p>
                    <a:r>
                      <a:t>318.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Cosmetics Spray Liquido 50+ 170Ml</c:v>
                </c:pt>
                <c:pt idx="1">
                  <c:v>Edgewell Banana Boat Advanced Protection Sunscreen Adults Cosmetics Liquido 50+ 240Ml</c:v>
                </c:pt>
                <c:pt idx="2">
                  <c:v>Edgewell Banana Boat Advanced Protection Sunscreen Adults Cosmetics Liquido 50+ 60Ml</c:v>
                </c:pt>
                <c:pt idx="3">
                  <c:v>Edgewell Banana Boat Advanced Protection Sunscreen Adults Cosmetics Liquido 50 180Ml</c:v>
                </c:pt>
                <c:pt idx="4">
                  <c:v>Edgewell Banana Boat Banded Pack Banded Pack 2X Sunscreen Multi 50+ 236Ml</c:v>
                </c:pt>
                <c:pt idx="5">
                  <c:v>Edgewell Banana Boat Banded Pack Banded Pack 2X Sunscreen Multi 50+ 170Ml</c:v>
                </c:pt>
                <c:pt idx="6">
                  <c:v>Edgewell Banana Boat Mineral Sunscreen Kids Cosmetics Locion 50 180Ml</c:v>
                </c:pt>
                <c:pt idx="7">
                  <c:v>Edgewell Banana Boat Mineral Sunscreen Adults Cosmetics Locion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Mineral Sunscreen Adults Sport Locion 50 180Ml</c:v>
                </c:pt>
                <c:pt idx="13">
                  <c:v>Edgewell Banana Boat Dry Balance Sunscreen Adults Sport Spray Liquido 50 220Ml</c:v>
                </c:pt>
              </c:strCache>
            </c:strRef>
          </c:cat>
          <c:val>
            <c:numRef>
              <c:f>Sheet1!$B$2:$B$16</c:f>
              <c:numCache>
                <c:formatCode>General</c:formatCode>
                <c:ptCount val="15"/>
                <c:pt idx="0">
                  <c:v>308.6</c:v>
                </c:pt>
                <c:pt idx="1">
                  <c:v>281.45</c:v>
                </c:pt>
                <c:pt idx="2">
                  <c:v>82.86</c:v>
                </c:pt>
                <c:pt idx="3">
                  <c:v>239.97</c:v>
                </c:pt>
                <c:pt idx="4">
                  <c:v>254.7</c:v>
                </c:pt>
                <c:pt idx="5">
                  <c:v>326.42</c:v>
                </c:pt>
                <c:pt idx="6">
                  <c:v>319.23</c:v>
                </c:pt>
                <c:pt idx="7">
                  <c:v>312.31</c:v>
                </c:pt>
                <c:pt idx="8">
                  <c:v>278.07</c:v>
                </c:pt>
                <c:pt idx="9">
                  <c:v>292.13</c:v>
                </c:pt>
                <c:pt idx="10">
                  <c:v>268.09</c:v>
                </c:pt>
                <c:pt idx="11">
                  <c:v>240.15</c:v>
                </c:pt>
                <c:pt idx="12">
                  <c:v>293.59</c:v>
                </c:pt>
                <c:pt idx="13">
                  <c:v>318.18</c:v>
                </c:pt>
                <c:pt idx="14">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189.54</a:t>
                    </a:r>
                  </a:p>
                </c:rich>
              </c:tx>
              <c:dLblPos val="t"/>
              <c:showLegendKey val="0"/>
              <c:showVal val="1"/>
              <c:showCatName val="0"/>
              <c:showSerName val="0"/>
              <c:showPercent val="0"/>
              <c:showBubbleSize val="0"/>
            </c:dLbl>
            <c:dLbl>
              <c:idx val="4"/>
              <c:tx>
                <c:rich>
                  <a:bodyPr/>
                  <a:lstStyle/>
                  <a:p>
                    <a:r>
                      <a:t>101.15</a:t>
                    </a:r>
                  </a:p>
                </c:rich>
              </c:tx>
              <c:dLblPos val="t"/>
              <c:showLegendKey val="0"/>
              <c:showVal val="1"/>
              <c:showCatName val="0"/>
              <c:showSerName val="0"/>
              <c:showPercent val="0"/>
              <c:showBubbleSize val="0"/>
            </c:dLbl>
            <c:dLbl>
              <c:idx val="5"/>
              <c:tx>
                <c:rich>
                  <a:bodyPr/>
                  <a:lstStyle/>
                  <a:p>
                    <a:r>
                      <a:t>330.69</a:t>
                    </a:r>
                  </a:p>
                </c:rich>
              </c:tx>
              <c:dLblPos val="t"/>
              <c:showLegendKey val="0"/>
              <c:showVal val="1"/>
              <c:showCatName val="0"/>
              <c:showSerName val="0"/>
              <c:showPercent val="0"/>
              <c:showBubbleSize val="0"/>
            </c:dLbl>
            <c:dLbl>
              <c:idx val="6"/>
              <c:tx>
                <c:rich>
                  <a:bodyPr/>
                  <a:lstStyle/>
                  <a:p>
                    <a:r>
                      <a:t>300.48</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01.91</a:t>
                    </a:r>
                  </a:p>
                </c:rich>
              </c:tx>
              <c:dLblPos val="t"/>
              <c:showLegendKey val="0"/>
              <c:showVal val="1"/>
              <c:showCatName val="0"/>
              <c:showSerName val="0"/>
              <c:showPercent val="0"/>
              <c:showBubbleSize val="0"/>
            </c:dLbl>
            <c:dLbl>
              <c:idx val="9"/>
              <c:tx>
                <c:rich>
                  <a:bodyPr/>
                  <a:lstStyle/>
                  <a:p>
                    <a:r>
                      <a:t>194.2</a:t>
                    </a:r>
                  </a:p>
                </c:rich>
              </c:tx>
              <c:dLblPos val="t"/>
              <c:showLegendKey val="0"/>
              <c:showVal val="1"/>
              <c:showCatName val="0"/>
              <c:showSerName val="0"/>
              <c:showPercent val="0"/>
              <c:showBubbleSize val="0"/>
            </c:dLbl>
            <c:dLbl>
              <c:idx val="10"/>
              <c:tx>
                <c:rich>
                  <a:bodyPr/>
                  <a:lstStyle/>
                  <a:p>
                    <a:r>
                      <a:t>92.14</a:t>
                    </a:r>
                  </a:p>
                </c:rich>
              </c:tx>
              <c:dLblPos val="t"/>
              <c:showLegendKey val="0"/>
              <c:showVal val="1"/>
              <c:showCatName val="0"/>
              <c:showSerName val="0"/>
              <c:showPercent val="0"/>
              <c:showBubbleSize val="0"/>
            </c:dLbl>
            <c:dLbl>
              <c:idx val="11"/>
              <c:tx>
                <c:rich>
                  <a:bodyPr/>
                  <a:lstStyle/>
                  <a:p>
                    <a:r>
                      <a:t>290.38</a:t>
                    </a:r>
                  </a:p>
                </c:rich>
              </c:tx>
              <c:dLblPos val="t"/>
              <c:showLegendKey val="0"/>
              <c:showVal val="1"/>
              <c:showCatName val="0"/>
              <c:showSerName val="0"/>
              <c:showPercent val="0"/>
              <c:showBubbleSize val="0"/>
            </c:dLbl>
            <c:dLbl>
              <c:idx val="12"/>
              <c:tx>
                <c:rich>
                  <a:bodyPr/>
                  <a:lstStyle/>
                  <a:p>
                    <a:r>
                      <a:t>339.07</a:t>
                    </a:r>
                  </a:p>
                </c:rich>
              </c:tx>
              <c:dLblPos val="t"/>
              <c:showLegendKey val="0"/>
              <c:showVal val="1"/>
              <c:showCatName val="0"/>
              <c:showSerName val="0"/>
              <c:showPercent val="0"/>
              <c:showBubbleSize val="0"/>
            </c:dLbl>
            <c:dLbl>
              <c:idx val="13"/>
              <c:tx>
                <c:rich>
                  <a:bodyPr/>
                  <a:lstStyle/>
                  <a:p>
                    <a:r>
                      <a:t>301.12</a:t>
                    </a:r>
                  </a:p>
                </c:rich>
              </c:tx>
              <c:dLblPos val="t"/>
              <c:showLegendKey val="0"/>
              <c:showVal val="1"/>
              <c:showCatName val="0"/>
              <c:showSerName val="0"/>
              <c:showPercent val="0"/>
              <c:showBubbleSize val="0"/>
            </c:dLbl>
            <c:dLbl>
              <c:idx val="14"/>
              <c:tx>
                <c:rich>
                  <a:bodyPr/>
                  <a:lstStyle/>
                  <a:p>
                    <a:r>
                      <a:t>175.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Ozono Sunscreen Adults Cosmetics Liquido 50+ 120Ml</c:v>
                </c:pt>
                <c:pt idx="10">
                  <c:v>Edgewell Hawaiian Tropic Island Sport Sunscreen Adults Sport Liquido 50 60Ml</c:v>
                </c:pt>
                <c:pt idx="11">
                  <c:v>Edgewell Hawaiian Tropic Tanning Sunscreen Adults Cosmetics Spray Liquido 15 - 19 22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12</c:v>
                </c:pt>
                <c:pt idx="1">
                  <c:v>312.14</c:v>
                </c:pt>
                <c:pt idx="2">
                  <c:v>305.29</c:v>
                </c:pt>
                <c:pt idx="3">
                  <c:v>189.54</c:v>
                </c:pt>
                <c:pt idx="4">
                  <c:v>101.15</c:v>
                </c:pt>
                <c:pt idx="5">
                  <c:v>330.69</c:v>
                </c:pt>
                <c:pt idx="6">
                  <c:v>300.48</c:v>
                </c:pt>
                <c:pt idx="7">
                  <c:v>324.32</c:v>
                </c:pt>
                <c:pt idx="8">
                  <c:v>301.91</c:v>
                </c:pt>
                <c:pt idx="9">
                  <c:v>194.2</c:v>
                </c:pt>
                <c:pt idx="10">
                  <c:v>92.14</c:v>
                </c:pt>
                <c:pt idx="11">
                  <c:v>290.38</c:v>
                </c:pt>
                <c:pt idx="12">
                  <c:v>339.07</c:v>
                </c:pt>
                <c:pt idx="13">
                  <c:v>301.12</c:v>
                </c:pt>
                <c:pt idx="14">
                  <c:v>17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46</a:t>
                    </a:r>
                  </a:p>
                </c:rich>
              </c:tx>
              <c:dLblPos val="t"/>
              <c:showLegendKey val="0"/>
              <c:showVal val="1"/>
              <c:showCatName val="0"/>
              <c:showSerName val="0"/>
              <c:showPercent val="0"/>
              <c:showBubbleSize val="0"/>
            </c:dLbl>
            <c:dLbl>
              <c:idx val="1"/>
              <c:tx>
                <c:rich>
                  <a:bodyPr/>
                  <a:lstStyle/>
                  <a:p>
                    <a:r>
                      <a:t>286.78</a:t>
                    </a:r>
                  </a:p>
                </c:rich>
              </c:tx>
              <c:dLblPos val="t"/>
              <c:showLegendKey val="0"/>
              <c:showVal val="1"/>
              <c:showCatName val="0"/>
              <c:showSerName val="0"/>
              <c:showPercent val="0"/>
              <c:showBubbleSize val="0"/>
            </c:dLbl>
            <c:dLbl>
              <c:idx val="2"/>
              <c:tx>
                <c:rich>
                  <a:bodyPr/>
                  <a:lstStyle/>
                  <a:p>
                    <a:r>
                      <a:t>84.58</a:t>
                    </a:r>
                  </a:p>
                </c:rich>
              </c:tx>
              <c:dLblPos val="t"/>
              <c:showLegendKey val="0"/>
              <c:showVal val="1"/>
              <c:showCatName val="0"/>
              <c:showSerName val="0"/>
              <c:showPercent val="0"/>
              <c:showBubbleSize val="0"/>
            </c:dLbl>
            <c:dLbl>
              <c:idx val="3"/>
              <c:tx>
                <c:rich>
                  <a:bodyPr/>
                  <a:lstStyle/>
                  <a:p>
                    <a:r>
                      <a:t>247.78</a:t>
                    </a:r>
                  </a:p>
                </c:rich>
              </c:tx>
              <c:dLblPos val="t"/>
              <c:showLegendKey val="0"/>
              <c:showVal val="1"/>
              <c:showCatName val="0"/>
              <c:showSerName val="0"/>
              <c:showPercent val="0"/>
              <c:showBubbleSize val="0"/>
            </c:dLbl>
            <c:dLbl>
              <c:idx val="4"/>
              <c:tx>
                <c:rich>
                  <a:bodyPr/>
                  <a:lstStyle/>
                  <a:p>
                    <a:r>
                      <a:t>266.74</a:t>
                    </a:r>
                  </a:p>
                </c:rich>
              </c:tx>
              <c:dLblPos val="t"/>
              <c:showLegendKey val="0"/>
              <c:showVal val="1"/>
              <c:showCatName val="0"/>
              <c:showSerName val="0"/>
              <c:showPercent val="0"/>
              <c:showBubbleSize val="0"/>
            </c:dLbl>
            <c:dLbl>
              <c:idx val="5"/>
              <c:tx>
                <c:rich>
                  <a:bodyPr/>
                  <a:lstStyle/>
                  <a:p>
                    <a:r>
                      <a:t>340.48</a:t>
                    </a:r>
                  </a:p>
                </c:rich>
              </c:tx>
              <c:dLblPos val="t"/>
              <c:showLegendKey val="0"/>
              <c:showVal val="1"/>
              <c:showCatName val="0"/>
              <c:showSerName val="0"/>
              <c:showPercent val="0"/>
              <c:showBubbleSize val="0"/>
            </c:dLbl>
            <c:dLbl>
              <c:idx val="6"/>
              <c:tx>
                <c:rich>
                  <a:bodyPr/>
                  <a:lstStyle/>
                  <a:p>
                    <a:r>
                      <a:t>324.15</a:t>
                    </a:r>
                  </a:p>
                </c:rich>
              </c:tx>
              <c:dLblPos val="t"/>
              <c:showLegendKey val="0"/>
              <c:showVal val="1"/>
              <c:showCatName val="0"/>
              <c:showSerName val="0"/>
              <c:showPercent val="0"/>
              <c:showBubbleSize val="0"/>
            </c:dLbl>
            <c:dLbl>
              <c:idx val="7"/>
              <c:tx>
                <c:rich>
                  <a:bodyPr/>
                  <a:lstStyle/>
                  <a:p>
                    <a:r>
                      <a:t>318.57</a:t>
                    </a:r>
                  </a:p>
                </c:rich>
              </c:tx>
              <c:dLblPos val="t"/>
              <c:showLegendKey val="0"/>
              <c:showVal val="1"/>
              <c:showCatName val="0"/>
              <c:showSerName val="0"/>
              <c:showPercent val="0"/>
              <c:showBubbleSize val="0"/>
            </c:dLbl>
            <c:dLbl>
              <c:idx val="8"/>
              <c:tx>
                <c:rich>
                  <a:bodyPr/>
                  <a:lstStyle/>
                  <a:p>
                    <a:r>
                      <a:t>286.35</a:t>
                    </a:r>
                  </a:p>
                </c:rich>
              </c:tx>
              <c:dLblPos val="t"/>
              <c:showLegendKey val="0"/>
              <c:showVal val="1"/>
              <c:showCatName val="0"/>
              <c:showSerName val="0"/>
              <c:showPercent val="0"/>
              <c:showBubbleSize val="0"/>
            </c:dLbl>
            <c:dLbl>
              <c:idx val="9"/>
              <c:tx>
                <c:rich>
                  <a:bodyPr/>
                  <a:lstStyle/>
                  <a:p>
                    <a:r>
                      <a:t>303.02</a:t>
                    </a:r>
                  </a:p>
                </c:rich>
              </c:tx>
              <c:dLblPos val="t"/>
              <c:showLegendKey val="0"/>
              <c:showVal val="1"/>
              <c:showCatName val="0"/>
              <c:showSerName val="0"/>
              <c:showPercent val="0"/>
              <c:showBubbleSize val="0"/>
            </c:dLbl>
            <c:dLbl>
              <c:idx val="10"/>
              <c:tx>
                <c:rich>
                  <a:bodyPr/>
                  <a:lstStyle/>
                  <a:p>
                    <a:r>
                      <a:t>274.64</a:t>
                    </a:r>
                  </a:p>
                </c:rich>
              </c:tx>
              <c:dLblPos val="t"/>
              <c:showLegendKey val="0"/>
              <c:showVal val="1"/>
              <c:showCatName val="0"/>
              <c:showSerName val="0"/>
              <c:showPercent val="0"/>
              <c:showBubbleSize val="0"/>
            </c:dLbl>
            <c:dLbl>
              <c:idx val="11"/>
              <c:tx>
                <c:rich>
                  <a:bodyPr/>
                  <a:lstStyle/>
                  <a:p>
                    <a:r>
                      <a:t>256.75</a:t>
                    </a:r>
                  </a:p>
                </c:rich>
              </c:tx>
              <c:dLblPos val="t"/>
              <c:showLegendKey val="0"/>
              <c:showVal val="1"/>
              <c:showCatName val="0"/>
              <c:showSerName val="0"/>
              <c:showPercent val="0"/>
              <c:showBubbleSize val="0"/>
            </c:dLbl>
            <c:dLbl>
              <c:idx val="12"/>
              <c:tx>
                <c:rich>
                  <a:bodyPr/>
                  <a:lstStyle/>
                  <a:p>
                    <a:r>
                      <a:t>304.55</a:t>
                    </a:r>
                  </a:p>
                </c:rich>
              </c:tx>
              <c:dLblPos val="t"/>
              <c:showLegendKey val="0"/>
              <c:showVal val="1"/>
              <c:showCatName val="0"/>
              <c:showSerName val="0"/>
              <c:showPercent val="0"/>
              <c:showBubbleSize val="0"/>
            </c:dLbl>
            <c:dLbl>
              <c:idx val="13"/>
              <c:tx>
                <c:rich>
                  <a:bodyPr/>
                  <a:lstStyle/>
                  <a:p>
                    <a:r>
                      <a:t>320.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Cosmetics Spray Liquido 50+ 170Ml</c:v>
                </c:pt>
                <c:pt idx="1">
                  <c:v>Edgewell Banana Boat Advanced Protection Sunscreen Adults Cosmetics Liquido 50+ 240Ml</c:v>
                </c:pt>
                <c:pt idx="2">
                  <c:v>Edgewell Banana Boat Advanced Protection Sunscreen Adults Cosmetics Liquido 50+ 60Ml</c:v>
                </c:pt>
                <c:pt idx="3">
                  <c:v>Edgewell Banana Boat Advanced Protection Sunscreen Adults Cosmetics Liquido 50 180Ml</c:v>
                </c:pt>
                <c:pt idx="4">
                  <c:v>Edgewell Banana Boat Banded Pack Banded Pack 2X Sunscreen Multi 50+ 236Ml</c:v>
                </c:pt>
                <c:pt idx="5">
                  <c:v>Edgewell Banana Boat Banded Pack Banded Pack 2X Sunscreen Multi 50+ 170Ml</c:v>
                </c:pt>
                <c:pt idx="6">
                  <c:v>Edgewell Banana Boat Mineral Sunscreen Kids Cosmetics Locion 50 180Ml</c:v>
                </c:pt>
                <c:pt idx="7">
                  <c:v>Edgewell Banana Boat Mineral Sunscreen Adults Cosmetics Locion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Mineral Sunscreen Adults Sport Locion 50 180Ml</c:v>
                </c:pt>
                <c:pt idx="13">
                  <c:v>Edgewell Banana Boat Dry Balance Sunscreen Adults Sport Spray Liquido 50 220Ml</c:v>
                </c:pt>
              </c:strCache>
            </c:strRef>
          </c:cat>
          <c:val>
            <c:numRef>
              <c:f>Sheet1!$B$2:$B$16</c:f>
              <c:numCache>
                <c:formatCode>General</c:formatCode>
                <c:ptCount val="15"/>
                <c:pt idx="0">
                  <c:v>312.46</c:v>
                </c:pt>
                <c:pt idx="1">
                  <c:v>286.78</c:v>
                </c:pt>
                <c:pt idx="2">
                  <c:v>84.58</c:v>
                </c:pt>
                <c:pt idx="3">
                  <c:v>247.78</c:v>
                </c:pt>
                <c:pt idx="4">
                  <c:v>266.74</c:v>
                </c:pt>
                <c:pt idx="5">
                  <c:v>340.48</c:v>
                </c:pt>
                <c:pt idx="6">
                  <c:v>324.15</c:v>
                </c:pt>
                <c:pt idx="7">
                  <c:v>318.57</c:v>
                </c:pt>
                <c:pt idx="8">
                  <c:v>286.35</c:v>
                </c:pt>
                <c:pt idx="9">
                  <c:v>303.02</c:v>
                </c:pt>
                <c:pt idx="10">
                  <c:v>274.64</c:v>
                </c:pt>
                <c:pt idx="11">
                  <c:v>256.75</c:v>
                </c:pt>
                <c:pt idx="12">
                  <c:v>304.55</c:v>
                </c:pt>
                <c:pt idx="13">
                  <c:v>320.29</c:v>
                </c:pt>
                <c:pt idx="14">
                  <c:v>3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7.71</a:t>
                    </a:r>
                  </a:p>
                </c:rich>
              </c:tx>
              <c:dLblPos val="t"/>
              <c:showLegendKey val="0"/>
              <c:showVal val="1"/>
              <c:showCatName val="0"/>
              <c:showSerName val="0"/>
              <c:showPercent val="0"/>
              <c:showBubbleSize val="0"/>
            </c:dLbl>
            <c:dLbl>
              <c:idx val="1"/>
              <c:tx>
                <c:rich>
                  <a:bodyPr/>
                  <a:lstStyle/>
                  <a:p>
                    <a:r>
                      <a:t>81.09</a:t>
                    </a:r>
                  </a:p>
                </c:rich>
              </c:tx>
              <c:dLblPos val="t"/>
              <c:showLegendKey val="0"/>
              <c:showVal val="1"/>
              <c:showCatName val="0"/>
              <c:showSerName val="0"/>
              <c:showPercent val="0"/>
              <c:showBubbleSize val="0"/>
            </c:dLbl>
            <c:dLbl>
              <c:idx val="2"/>
              <c:tx>
                <c:rich>
                  <a:bodyPr/>
                  <a:lstStyle/>
                  <a:p>
                    <a:r>
                      <a:t>319.96</a:t>
                    </a:r>
                  </a:p>
                </c:rich>
              </c:tx>
              <c:dLblPos val="t"/>
              <c:showLegendKey val="0"/>
              <c:showVal val="1"/>
              <c:showCatName val="0"/>
              <c:showSerName val="0"/>
              <c:showPercent val="0"/>
              <c:showBubbleSize val="0"/>
            </c:dLbl>
            <c:dLbl>
              <c:idx val="3"/>
              <c:tx>
                <c:rich>
                  <a:bodyPr/>
                  <a:lstStyle/>
                  <a:p>
                    <a:r>
                      <a:t>337.37</a:t>
                    </a:r>
                  </a:p>
                </c:rich>
              </c:tx>
              <c:dLblPos val="t"/>
              <c:showLegendKey val="0"/>
              <c:showVal val="1"/>
              <c:showCatName val="0"/>
              <c:showSerName val="0"/>
              <c:showPercent val="0"/>
              <c:showBubbleSize val="0"/>
            </c:dLbl>
            <c:dLbl>
              <c:idx val="4"/>
              <c:tx>
                <c:rich>
                  <a:bodyPr/>
                  <a:lstStyle/>
                  <a:p>
                    <a:r>
                      <a:t>349.39</a:t>
                    </a:r>
                  </a:p>
                </c:rich>
              </c:tx>
              <c:dLblPos val="t"/>
              <c:showLegendKey val="0"/>
              <c:showVal val="1"/>
              <c:showCatName val="0"/>
              <c:showSerName val="0"/>
              <c:showPercent val="0"/>
              <c:showBubbleSize val="0"/>
            </c:dLbl>
            <c:dLbl>
              <c:idx val="5"/>
              <c:tx>
                <c:rich>
                  <a:bodyPr/>
                  <a:lstStyle/>
                  <a:p>
                    <a:r>
                      <a:t>345.53</a:t>
                    </a:r>
                  </a:p>
                </c:rich>
              </c:tx>
              <c:dLblPos val="t"/>
              <c:showLegendKey val="0"/>
              <c:showVal val="1"/>
              <c:showCatName val="0"/>
              <c:showSerName val="0"/>
              <c:showPercent val="0"/>
              <c:showBubbleSize val="0"/>
            </c:dLbl>
            <c:dLbl>
              <c:idx val="6"/>
              <c:tx>
                <c:rich>
                  <a:bodyPr/>
                  <a:lstStyle/>
                  <a:p>
                    <a:r>
                      <a:t>400.38</a:t>
                    </a:r>
                  </a:p>
                </c:rich>
              </c:tx>
              <c:dLblPos val="t"/>
              <c:showLegendKey val="0"/>
              <c:showVal val="1"/>
              <c:showCatName val="0"/>
              <c:showSerName val="0"/>
              <c:showPercent val="0"/>
              <c:showBubbleSize val="0"/>
            </c:dLbl>
            <c:dLbl>
              <c:idx val="7"/>
              <c:tx>
                <c:rich>
                  <a:bodyPr/>
                  <a:lstStyle/>
                  <a:p>
                    <a:r>
                      <a:t>345.62</a:t>
                    </a:r>
                  </a:p>
                </c:rich>
              </c:tx>
              <c:dLblPos val="t"/>
              <c:showLegendKey val="0"/>
              <c:showVal val="1"/>
              <c:showCatName val="0"/>
              <c:showSerName val="0"/>
              <c:showPercent val="0"/>
              <c:showBubbleSize val="0"/>
            </c:dLbl>
            <c:dLbl>
              <c:idx val="8"/>
              <c:tx>
                <c:rich>
                  <a:bodyPr/>
                  <a:lstStyle/>
                  <a:p>
                    <a:r>
                      <a:t>343.91</a:t>
                    </a:r>
                  </a:p>
                </c:rich>
              </c:tx>
              <c:dLblPos val="t"/>
              <c:showLegendKey val="0"/>
              <c:showVal val="1"/>
              <c:showCatName val="0"/>
              <c:showSerName val="0"/>
              <c:showPercent val="0"/>
              <c:showBubbleSize val="0"/>
            </c:dLbl>
            <c:dLbl>
              <c:idx val="9"/>
              <c:tx>
                <c:rich>
                  <a:bodyPr/>
                  <a:lstStyle/>
                  <a:p>
                    <a:r>
                      <a:t>102.13</a:t>
                    </a:r>
                  </a:p>
                </c:rich>
              </c:tx>
              <c:dLblPos val="t"/>
              <c:showLegendKey val="0"/>
              <c:showVal val="1"/>
              <c:showCatName val="0"/>
              <c:showSerName val="0"/>
              <c:showPercent val="0"/>
              <c:showBubbleSize val="0"/>
            </c:dLbl>
            <c:dLbl>
              <c:idx val="10"/>
              <c:tx>
                <c:rich>
                  <a:bodyPr/>
                  <a:lstStyle/>
                  <a:p>
                    <a:r>
                      <a:t>332.96</a:t>
                    </a:r>
                  </a:p>
                </c:rich>
              </c:tx>
              <c:dLblPos val="t"/>
              <c:showLegendKey val="0"/>
              <c:showVal val="1"/>
              <c:showCatName val="0"/>
              <c:showSerName val="0"/>
              <c:showPercent val="0"/>
              <c:showBubbleSize val="0"/>
            </c:dLbl>
            <c:dLbl>
              <c:idx val="11"/>
              <c:tx>
                <c:rich>
                  <a:bodyPr/>
                  <a:lstStyle/>
                  <a:p>
                    <a:r>
                      <a:t>257.6</a:t>
                    </a:r>
                  </a:p>
                </c:rich>
              </c:tx>
              <c:dLblPos val="t"/>
              <c:showLegendKey val="0"/>
              <c:showVal val="1"/>
              <c:showCatName val="0"/>
              <c:showSerName val="0"/>
              <c:showPercent val="0"/>
              <c:showBubbleSize val="0"/>
            </c:dLbl>
            <c:dLbl>
              <c:idx val="12"/>
              <c:tx>
                <c:rich>
                  <a:bodyPr/>
                  <a:lstStyle/>
                  <a:p>
                    <a:r>
                      <a:t>342.81</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302.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Advanced Protection Sunscreen Adults Cosmetics Liquido 50+ 60Ml</c:v>
                </c:pt>
                <c:pt idx="2">
                  <c:v>Edgewell Banana Boat Advanced Protection Sunscreen Adults Cosmetics Liquido 50+ 240Ml</c:v>
                </c:pt>
                <c:pt idx="3">
                  <c:v>Edgewell Banana Boat Aqua Protect Sunscreen Adults Sport Crema 50+ 236Ml</c:v>
                </c:pt>
                <c:pt idx="4">
                  <c:v>Edgewell Banana Boat Dry Balance Sunscreen Adults Sport Crema 50+ 180Ml</c:v>
                </c:pt>
                <c:pt idx="5">
                  <c:v>Edgewell Banana Boat Mineral Sunscreen Kids Cosmetics Locion 50 180Ml</c:v>
                </c:pt>
                <c:pt idx="6">
                  <c:v>Edgewell Banana Boat Banded Pack Banded Pack 2X Sunscreen Multi 50+ 170Ml</c:v>
                </c:pt>
                <c:pt idx="7">
                  <c:v>Edgewell Banana Boat Mineral Sunscreen Adults Cosmetics Locion 50 180Ml</c:v>
                </c:pt>
                <c:pt idx="8">
                  <c:v>Edgewell Banana Boat Mineral Sunscreen Adults Sport Locion 50 180Ml</c:v>
                </c:pt>
                <c:pt idx="9">
                  <c:v>Edgewell Banana Boat Dry Balance Sunscreen Adults Sport Locion 50+ 60Ml</c:v>
                </c:pt>
                <c:pt idx="10">
                  <c:v>Edgewell Banana Boat Dry Balance Sunscreen Adults Sport Spray Liquido 50 220Ml</c:v>
                </c:pt>
                <c:pt idx="11">
                  <c:v>Edgewell Banana Boat Dry Balance Sunscreen Adults Cosmetics Spray Crema 50+ 220Ml</c:v>
                </c:pt>
                <c:pt idx="12">
                  <c:v>Edgewell Banana Boat Aqua Protect Sunscreen Adults Cosmetics Crema 50+ 236Ml</c:v>
                </c:pt>
                <c:pt idx="13">
                  <c:v>Edgewell Banana Boat Kids Sport Sunscreen Kids Cosmetics Crema 50 180Ml</c:v>
                </c:pt>
                <c:pt idx="14">
                  <c:v>Edgewell Banana Boat Dry Balance Sunscreen Adults Cosmetics Crema 50+ 180Ml</c:v>
                </c:pt>
              </c:strCache>
            </c:strRef>
          </c:cat>
          <c:val>
            <c:numRef>
              <c:f>Sheet1!$B$2:$B$16</c:f>
              <c:numCache>
                <c:formatCode>General</c:formatCode>
                <c:ptCount val="15"/>
                <c:pt idx="0">
                  <c:v>327.71</c:v>
                </c:pt>
                <c:pt idx="1">
                  <c:v>81.09</c:v>
                </c:pt>
                <c:pt idx="2">
                  <c:v>319.96</c:v>
                </c:pt>
                <c:pt idx="3">
                  <c:v>337.37</c:v>
                </c:pt>
                <c:pt idx="4">
                  <c:v>349.39</c:v>
                </c:pt>
                <c:pt idx="5">
                  <c:v>345.53</c:v>
                </c:pt>
                <c:pt idx="6">
                  <c:v>400.38</c:v>
                </c:pt>
                <c:pt idx="7">
                  <c:v>345.62</c:v>
                </c:pt>
                <c:pt idx="8">
                  <c:v>343.91</c:v>
                </c:pt>
                <c:pt idx="9">
                  <c:v>102.13</c:v>
                </c:pt>
                <c:pt idx="10">
                  <c:v>332.96</c:v>
                </c:pt>
                <c:pt idx="11">
                  <c:v>257.6</c:v>
                </c:pt>
                <c:pt idx="12">
                  <c:v>342.81</c:v>
                </c:pt>
                <c:pt idx="13">
                  <c:v>330.0</c:v>
                </c:pt>
                <c:pt idx="14">
                  <c:v>30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03.8</a:t>
                    </a:r>
                  </a:p>
                </c:rich>
              </c:tx>
              <c:dLblPos val="t"/>
              <c:showLegendKey val="0"/>
              <c:showVal val="1"/>
              <c:showCatName val="0"/>
              <c:showSerName val="0"/>
              <c:showPercent val="0"/>
              <c:showBubbleSize val="0"/>
            </c:dLbl>
            <c:dLbl>
              <c:idx val="2"/>
              <c:tx>
                <c:rich>
                  <a:bodyPr/>
                  <a:lstStyle/>
                  <a:p>
                    <a:r>
                      <a:t>332.2</a:t>
                    </a:r>
                  </a:p>
                </c:rich>
              </c:tx>
              <c:dLblPos val="t"/>
              <c:showLegendKey val="0"/>
              <c:showVal val="1"/>
              <c:showCatName val="0"/>
              <c:showSerName val="0"/>
              <c:showPercent val="0"/>
              <c:showBubbleSize val="0"/>
            </c:dLbl>
            <c:dLbl>
              <c:idx val="3"/>
              <c:tx>
                <c:rich>
                  <a:bodyPr/>
                  <a:lstStyle/>
                  <a:p>
                    <a:r>
                      <a:t>249.96</a:t>
                    </a:r>
                  </a:p>
                </c:rich>
              </c:tx>
              <c:dLblPos val="t"/>
              <c:showLegendKey val="0"/>
              <c:showVal val="1"/>
              <c:showCatName val="0"/>
              <c:showSerName val="0"/>
              <c:showPercent val="0"/>
              <c:showBubbleSize val="0"/>
            </c:dLbl>
            <c:dLbl>
              <c:idx val="4"/>
              <c:tx>
                <c:rich>
                  <a:bodyPr/>
                  <a:lstStyle/>
                  <a:p>
                    <a:r>
                      <a:t>282.97</a:t>
                    </a:r>
                  </a:p>
                </c:rich>
              </c:tx>
              <c:dLblPos val="t"/>
              <c:showLegendKey val="0"/>
              <c:showVal val="1"/>
              <c:showCatName val="0"/>
              <c:showSerName val="0"/>
              <c:showPercent val="0"/>
              <c:showBubbleSize val="0"/>
            </c:dLbl>
            <c:dLbl>
              <c:idx val="5"/>
              <c:tx>
                <c:rich>
                  <a:bodyPr/>
                  <a:lstStyle/>
                  <a:p>
                    <a:r>
                      <a:t>213.0</a:t>
                    </a:r>
                  </a:p>
                </c:rich>
              </c:tx>
              <c:dLblPos val="t"/>
              <c:showLegendKey val="0"/>
              <c:showVal val="1"/>
              <c:showCatName val="0"/>
              <c:showSerName val="0"/>
              <c:showPercent val="0"/>
              <c:showBubbleSize val="0"/>
            </c:dLbl>
            <c:dLbl>
              <c:idx val="6"/>
              <c:tx>
                <c:rich>
                  <a:bodyPr/>
                  <a:lstStyle/>
                  <a:p>
                    <a:r>
                      <a:t>125.0</a:t>
                    </a:r>
                  </a:p>
                </c:rich>
              </c:tx>
              <c:dLblPos val="t"/>
              <c:showLegendKey val="0"/>
              <c:showVal val="1"/>
              <c:showCatName val="0"/>
              <c:showSerName val="0"/>
              <c:showPercent val="0"/>
              <c:showBubbleSize val="0"/>
            </c:dLbl>
            <c:dLbl>
              <c:idx val="7"/>
              <c:tx>
                <c:rich>
                  <a:bodyPr/>
                  <a:lstStyle/>
                  <a:p>
                    <a:r>
                      <a:t>93.72</a:t>
                    </a:r>
                  </a:p>
                </c:rich>
              </c:tx>
              <c:dLblPos val="t"/>
              <c:showLegendKey val="0"/>
              <c:showVal val="1"/>
              <c:showCatName val="0"/>
              <c:showSerName val="0"/>
              <c:showPercent val="0"/>
              <c:showBubbleSize val="0"/>
            </c:dLbl>
            <c:dLbl>
              <c:idx val="8"/>
              <c:tx>
                <c:rich>
                  <a:bodyPr/>
                  <a:lstStyle/>
                  <a:p>
                    <a:r>
                      <a:t>195.0</a:t>
                    </a:r>
                  </a:p>
                </c:rich>
              </c:tx>
              <c:dLblPos val="t"/>
              <c:showLegendKey val="0"/>
              <c:showVal val="1"/>
              <c:showCatName val="0"/>
              <c:showSerName val="0"/>
              <c:showPercent val="0"/>
              <c:showBubbleSize val="0"/>
            </c:dLbl>
            <c:dLbl>
              <c:idx val="9"/>
              <c:tx>
                <c:rich>
                  <a:bodyPr/>
                  <a:lstStyle/>
                  <a:p>
                    <a:r>
                      <a:t>201.58</a:t>
                    </a:r>
                  </a:p>
                </c:rich>
              </c:tx>
              <c:dLblPos val="t"/>
              <c:showLegendKey val="0"/>
              <c:showVal val="1"/>
              <c:showCatName val="0"/>
              <c:showSerName val="0"/>
              <c:showPercent val="0"/>
              <c:showBubbleSize val="0"/>
            </c:dLbl>
            <c:dLbl>
              <c:idx val="10"/>
              <c:tx>
                <c:rich>
                  <a:bodyPr/>
                  <a:lstStyle/>
                  <a:p>
                    <a:r>
                      <a:t>220.0</a:t>
                    </a:r>
                  </a:p>
                </c:rich>
              </c:tx>
              <c:dLblPos val="t"/>
              <c:showLegendKey val="0"/>
              <c:showVal val="1"/>
              <c:showCatName val="0"/>
              <c:showSerName val="0"/>
              <c:showPercent val="0"/>
              <c:showBubbleSize val="0"/>
            </c:dLbl>
            <c:dLbl>
              <c:idx val="11"/>
              <c:tx>
                <c:rich>
                  <a:bodyPr/>
                  <a:lstStyle/>
                  <a:p>
                    <a:r>
                      <a:t>205.93</a:t>
                    </a:r>
                  </a:p>
                </c:rich>
              </c:tx>
              <c:dLblPos val="t"/>
              <c:showLegendKey val="0"/>
              <c:showVal val="1"/>
              <c:showCatName val="0"/>
              <c:showSerName val="0"/>
              <c:showPercent val="0"/>
              <c:showBubbleSize val="0"/>
            </c:dLbl>
            <c:dLbl>
              <c:idx val="12"/>
              <c:tx>
                <c:rich>
                  <a:bodyPr/>
                  <a:lstStyle/>
                  <a:p>
                    <a:r>
                      <a:t>268.66</a:t>
                    </a:r>
                  </a:p>
                </c:rich>
              </c:tx>
              <c:dLblPos val="t"/>
              <c:showLegendKey val="0"/>
              <c:showVal val="1"/>
              <c:showCatName val="0"/>
              <c:showSerName val="0"/>
              <c:showPercent val="0"/>
              <c:showBubbleSize val="0"/>
            </c:dLbl>
            <c:dLbl>
              <c:idx val="13"/>
              <c:tx>
                <c:rich>
                  <a:bodyPr/>
                  <a:lstStyle/>
                  <a:p>
                    <a:r>
                      <a:t>266.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Cosmetics Crema 50+ 236Ml</c:v>
                </c:pt>
                <c:pt idx="1">
                  <c:v>Edgewell Banana Boat Bloqueador Sunscreen Adults Cosmetics Crema 50 236Ml</c:v>
                </c:pt>
                <c:pt idx="2">
                  <c:v>Edgewell Banana Boat Banded Pack Banded Pack 2X Sunscreen Multi 50+ 170Ml</c:v>
                </c:pt>
                <c:pt idx="3">
                  <c:v>Edgewell Banana Boat Mineral Sunscreen Adults Cosmetics Locion 50 60Ml</c:v>
                </c:pt>
                <c:pt idx="4">
                  <c:v>Edgewell Banana Boat Baby Sunscreen Baby Cosmetics Locion 50 180Ml</c:v>
                </c:pt>
                <c:pt idx="5">
                  <c:v>Edgewell Banana Boat Mineral Sunscreen Kids Cosmetics Locion 50 180Ml</c:v>
                </c:pt>
                <c:pt idx="6">
                  <c:v>Edgewell Banana Boat Gentle Protect Sunscreen Adults Cosmetics Locion 50 180Ml</c:v>
                </c:pt>
                <c:pt idx="7">
                  <c:v>Edgewell Banana Boat Advanced Protection Sunscreen Adults Cosmetics Liquido 50+ 60Ml</c:v>
                </c:pt>
                <c:pt idx="8">
                  <c:v>Edgewell Banana Boat Gentle Protect Sunscreen Kids Cosmetics Spray Liquido 50+ 170Ml</c:v>
                </c:pt>
                <c:pt idx="9">
                  <c:v>Edgewell Banana Boat Advanced Protection Sunscreen Adults Cosmetics Liquido 50+ 240Ml</c:v>
                </c:pt>
                <c:pt idx="10">
                  <c:v>Edgewell Banana Boat Mineral Sunscreen Adults Sport Locion 50 180Ml</c:v>
                </c:pt>
                <c:pt idx="11">
                  <c:v>Edgewell Banana Boat Aqua Protect Sunscreen Adults Sport Crema 50+ 236Ml</c:v>
                </c:pt>
                <c:pt idx="12">
                  <c:v>Edgewell Banana Boat Dry Balance Sunscreen Adults Sport Crema 50+ 180Ml</c:v>
                </c:pt>
                <c:pt idx="13">
                  <c:v>Edgewell Banana Boat Advanced Protection Sunscreen Adults Sport Liquido 50 180Ml</c:v>
                </c:pt>
              </c:strCache>
            </c:strRef>
          </c:cat>
          <c:val>
            <c:numRef>
              <c:f>Sheet1!$B$2:$B$16</c:f>
              <c:numCache>
                <c:formatCode>General</c:formatCode>
                <c:ptCount val="15"/>
                <c:pt idx="0">
                  <c:v>240.0</c:v>
                </c:pt>
                <c:pt idx="1">
                  <c:v>203.8</c:v>
                </c:pt>
                <c:pt idx="2">
                  <c:v>332.2</c:v>
                </c:pt>
                <c:pt idx="3">
                  <c:v>249.96</c:v>
                </c:pt>
                <c:pt idx="4">
                  <c:v>282.97</c:v>
                </c:pt>
                <c:pt idx="5">
                  <c:v>213.0</c:v>
                </c:pt>
                <c:pt idx="6">
                  <c:v>125.0</c:v>
                </c:pt>
                <c:pt idx="7">
                  <c:v>93.72</c:v>
                </c:pt>
                <c:pt idx="8">
                  <c:v>195.0</c:v>
                </c:pt>
                <c:pt idx="9">
                  <c:v>201.58</c:v>
                </c:pt>
                <c:pt idx="10">
                  <c:v>220.0</c:v>
                </c:pt>
                <c:pt idx="11">
                  <c:v>205.93</c:v>
                </c:pt>
                <c:pt idx="12">
                  <c:v>268.66</c:v>
                </c:pt>
                <c:pt idx="13">
                  <c:v>266.29</c:v>
                </c:pt>
                <c:pt idx="14">
                  <c:v>248.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78</a:t>
                    </a:r>
                  </a:p>
                </c:rich>
              </c:tx>
              <c:dLblPos val="t"/>
              <c:showLegendKey val="0"/>
              <c:showVal val="1"/>
              <c:showCatName val="0"/>
              <c:showSerName val="0"/>
              <c:showPercent val="0"/>
              <c:showBubbleSize val="0"/>
            </c:dLbl>
            <c:dLbl>
              <c:idx val="1"/>
              <c:tx>
                <c:rich>
                  <a:bodyPr/>
                  <a:lstStyle/>
                  <a:p>
                    <a:r>
                      <a:t>319.22</a:t>
                    </a:r>
                  </a:p>
                </c:rich>
              </c:tx>
              <c:dLblPos val="t"/>
              <c:showLegendKey val="0"/>
              <c:showVal val="1"/>
              <c:showCatName val="0"/>
              <c:showSerName val="0"/>
              <c:showPercent val="0"/>
              <c:showBubbleSize val="0"/>
            </c:dLbl>
            <c:dLbl>
              <c:idx val="2"/>
              <c:tx>
                <c:rich>
                  <a:bodyPr/>
                  <a:lstStyle/>
                  <a:p>
                    <a:r>
                      <a:t>306.38</a:t>
                    </a:r>
                  </a:p>
                </c:rich>
              </c:tx>
              <c:dLblPos val="t"/>
              <c:showLegendKey val="0"/>
              <c:showVal val="1"/>
              <c:showCatName val="0"/>
              <c:showSerName val="0"/>
              <c:showPercent val="0"/>
              <c:showBubbleSize val="0"/>
            </c:dLbl>
            <c:dLbl>
              <c:idx val="3"/>
              <c:tx>
                <c:rich>
                  <a:bodyPr/>
                  <a:lstStyle/>
                  <a:p>
                    <a:r>
                      <a:t>305.64</a:t>
                    </a:r>
                  </a:p>
                </c:rich>
              </c:tx>
              <c:dLblPos val="t"/>
              <c:showLegendKey val="0"/>
              <c:showVal val="1"/>
              <c:showCatName val="0"/>
              <c:showSerName val="0"/>
              <c:showPercent val="0"/>
              <c:showBubbleSize val="0"/>
            </c:dLbl>
            <c:dLbl>
              <c:idx val="4"/>
              <c:tx>
                <c:rich>
                  <a:bodyPr/>
                  <a:lstStyle/>
                  <a:p>
                    <a:r>
                      <a:t>308.59</a:t>
                    </a:r>
                  </a:p>
                </c:rich>
              </c:tx>
              <c:dLblPos val="t"/>
              <c:showLegendKey val="0"/>
              <c:showVal val="1"/>
              <c:showCatName val="0"/>
              <c:showSerName val="0"/>
              <c:showPercent val="0"/>
              <c:showBubbleSize val="0"/>
            </c:dLbl>
            <c:dLbl>
              <c:idx val="5"/>
              <c:tx>
                <c:rich>
                  <a:bodyPr/>
                  <a:lstStyle/>
                  <a:p>
                    <a:r>
                      <a:t>275.98</a:t>
                    </a:r>
                  </a:p>
                </c:rich>
              </c:tx>
              <c:dLblPos val="t"/>
              <c:showLegendKey val="0"/>
              <c:showVal val="1"/>
              <c:showCatName val="0"/>
              <c:showSerName val="0"/>
              <c:showPercent val="0"/>
              <c:showBubbleSize val="0"/>
            </c:dLbl>
            <c:dLbl>
              <c:idx val="6"/>
              <c:tx>
                <c:rich>
                  <a:bodyPr/>
                  <a:lstStyle/>
                  <a:p>
                    <a:r>
                      <a:t>87.0</a:t>
                    </a:r>
                  </a:p>
                </c:rich>
              </c:tx>
              <c:dLblPos val="t"/>
              <c:showLegendKey val="0"/>
              <c:showVal val="1"/>
              <c:showCatName val="0"/>
              <c:showSerName val="0"/>
              <c:showPercent val="0"/>
              <c:showBubbleSize val="0"/>
            </c:dLbl>
            <c:dLbl>
              <c:idx val="7"/>
              <c:tx>
                <c:rich>
                  <a:bodyPr/>
                  <a:lstStyle/>
                  <a:p>
                    <a:r>
                      <a:t>246.36</a:t>
                    </a:r>
                  </a:p>
                </c:rich>
              </c:tx>
              <c:dLblPos val="t"/>
              <c:showLegendKey val="0"/>
              <c:showVal val="1"/>
              <c:showCatName val="0"/>
              <c:showSerName val="0"/>
              <c:showPercent val="0"/>
              <c:showBubbleSize val="0"/>
            </c:dLbl>
            <c:dLbl>
              <c:idx val="8"/>
              <c:tx>
                <c:rich>
                  <a:bodyPr/>
                  <a:lstStyle/>
                  <a:p>
                    <a:r>
                      <a:t>270.79</a:t>
                    </a:r>
                  </a:p>
                </c:rich>
              </c:tx>
              <c:dLblPos val="t"/>
              <c:showLegendKey val="0"/>
              <c:showVal val="1"/>
              <c:showCatName val="0"/>
              <c:showSerName val="0"/>
              <c:showPercent val="0"/>
              <c:showBubbleSize val="0"/>
            </c:dLbl>
            <c:dLbl>
              <c:idx val="9"/>
              <c:tx>
                <c:rich>
                  <a:bodyPr/>
                  <a:lstStyle/>
                  <a:p>
                    <a:r>
                      <a:t>287.58</a:t>
                    </a:r>
                  </a:p>
                </c:rich>
              </c:tx>
              <c:dLblPos val="t"/>
              <c:showLegendKey val="0"/>
              <c:showVal val="1"/>
              <c:showCatName val="0"/>
              <c:showSerName val="0"/>
              <c:showPercent val="0"/>
              <c:showBubbleSize val="0"/>
            </c:dLbl>
            <c:dLbl>
              <c:idx val="10"/>
              <c:tx>
                <c:rich>
                  <a:bodyPr/>
                  <a:lstStyle/>
                  <a:p>
                    <a:r>
                      <a:t>271.52</a:t>
                    </a:r>
                  </a:p>
                </c:rich>
              </c:tx>
              <c:dLblPos val="t"/>
              <c:showLegendKey val="0"/>
              <c:showVal val="1"/>
              <c:showCatName val="0"/>
              <c:showSerName val="0"/>
              <c:showPercent val="0"/>
              <c:showBubbleSize val="0"/>
            </c:dLbl>
            <c:dLbl>
              <c:idx val="11"/>
              <c:tx>
                <c:rich>
                  <a:bodyPr/>
                  <a:lstStyle/>
                  <a:p>
                    <a:r>
                      <a:t>239.97</a:t>
                    </a:r>
                  </a:p>
                </c:rich>
              </c:tx>
              <c:dLblPos val="t"/>
              <c:showLegendKey val="0"/>
              <c:showVal val="1"/>
              <c:showCatName val="0"/>
              <c:showSerName val="0"/>
              <c:showPercent val="0"/>
              <c:showBubbleSize val="0"/>
            </c:dLbl>
            <c:dLbl>
              <c:idx val="12"/>
              <c:tx>
                <c:rich>
                  <a:bodyPr/>
                  <a:lstStyle/>
                  <a:p>
                    <a:r>
                      <a:t>300.61</a:t>
                    </a:r>
                  </a:p>
                </c:rich>
              </c:tx>
              <c:dLblPos val="t"/>
              <c:showLegendKey val="0"/>
              <c:showVal val="1"/>
              <c:showCatName val="0"/>
              <c:showSerName val="0"/>
              <c:showPercent val="0"/>
              <c:showBubbleSize val="0"/>
            </c:dLbl>
            <c:dLbl>
              <c:idx val="13"/>
              <c:tx>
                <c:rich>
                  <a:bodyPr/>
                  <a:lstStyle/>
                  <a:p>
                    <a:r>
                      <a:t>306.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236Ml</c:v>
                </c:pt>
                <c:pt idx="1">
                  <c:v>Edgewell Banana Boat Banded Pack Banded Pack 2X Sunscreen Multi 50+ 170Ml</c:v>
                </c:pt>
                <c:pt idx="2">
                  <c:v>Edgewell Banana Boat Mineral Sunscreen Adults Cosmetics Locion 50 180Ml</c:v>
                </c:pt>
                <c:pt idx="3">
                  <c:v>Edgewell Banana Boat Mineral Sunscreen Kids Cosmetics Locion 50 180Ml</c:v>
                </c:pt>
                <c:pt idx="4">
                  <c:v>Edgewell Banana Boat Aqua Protect Sunscreen Adults Cosmetics Spray Liquido 50+ 170Ml</c:v>
                </c:pt>
                <c:pt idx="5">
                  <c:v>Edgewell Banana Boat Advanced Protection Sunscreen Adults Cosmetics Liquido 50+ 240Ml</c:v>
                </c:pt>
                <c:pt idx="6">
                  <c:v>Edgewell Banana Boat Advanced Protection Sunscreen Adults Cosmetics Liquido 50+ 60Ml</c:v>
                </c:pt>
                <c:pt idx="7">
                  <c:v>Edgewell Banana Boat Advanced Protection Sunscreen Adults Cosmetics Liquido 50 180Ml</c:v>
                </c:pt>
                <c:pt idx="8">
                  <c:v>Edgewell Banana Boat Aqua Protect Sunscreen Adults Sport Crema 50+ 236Ml</c:v>
                </c:pt>
                <c:pt idx="9">
                  <c:v>Edgewell Banana Boat Dry Balance Sunscreen Adults Sport Crema 50+ 180Ml</c:v>
                </c:pt>
                <c:pt idx="10">
                  <c:v>Edgewell Banana Boat Aqua Protect Sunscreen Adults Cosmetics Crema 50+ 236Ml</c:v>
                </c:pt>
                <c:pt idx="11">
                  <c:v>Edgewell Banana Boat Kids Sport Sunscreen Kids Cosmetics Crema 50 180Ml</c:v>
                </c:pt>
                <c:pt idx="12">
                  <c:v>Edgewell Banana Boat Mineral Sunscreen Adults Sport Locion 50 180Ml</c:v>
                </c:pt>
                <c:pt idx="13">
                  <c:v>Edgewell Banana Boat Dry Balance Sunscreen Adults Sport Spray Liquido 50 220Ml</c:v>
                </c:pt>
              </c:strCache>
            </c:strRef>
          </c:cat>
          <c:val>
            <c:numRef>
              <c:f>Sheet1!$B$2:$B$16</c:f>
              <c:numCache>
                <c:formatCode>General</c:formatCode>
                <c:ptCount val="15"/>
                <c:pt idx="0">
                  <c:v>264.78</c:v>
                </c:pt>
                <c:pt idx="1">
                  <c:v>319.22</c:v>
                </c:pt>
                <c:pt idx="2">
                  <c:v>306.38</c:v>
                </c:pt>
                <c:pt idx="3">
                  <c:v>305.64</c:v>
                </c:pt>
                <c:pt idx="4">
                  <c:v>308.59</c:v>
                </c:pt>
                <c:pt idx="5">
                  <c:v>275.98</c:v>
                </c:pt>
                <c:pt idx="6">
                  <c:v>87.0</c:v>
                </c:pt>
                <c:pt idx="7">
                  <c:v>246.36</c:v>
                </c:pt>
                <c:pt idx="8">
                  <c:v>270.79</c:v>
                </c:pt>
                <c:pt idx="9">
                  <c:v>287.58</c:v>
                </c:pt>
                <c:pt idx="10">
                  <c:v>271.52</c:v>
                </c:pt>
                <c:pt idx="11">
                  <c:v>239.97</c:v>
                </c:pt>
                <c:pt idx="12">
                  <c:v>300.61</c:v>
                </c:pt>
                <c:pt idx="13">
                  <c:v>306.48</c:v>
                </c:pt>
                <c:pt idx="14">
                  <c:v>30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04</a:t>
                    </a:r>
                  </a:p>
                </c:rich>
              </c:tx>
              <c:dLblPos val="t"/>
              <c:showLegendKey val="0"/>
              <c:showVal val="1"/>
              <c:showCatName val="0"/>
              <c:showSerName val="0"/>
              <c:showPercent val="0"/>
              <c:showBubbleSize val="0"/>
            </c:dLbl>
            <c:dLbl>
              <c:idx val="1"/>
              <c:tx>
                <c:rich>
                  <a:bodyPr/>
                  <a:lstStyle/>
                  <a:p>
                    <a:r>
                      <a:t>259.27</a:t>
                    </a:r>
                  </a:p>
                </c:rich>
              </c:tx>
              <c:dLblPos val="t"/>
              <c:showLegendKey val="0"/>
              <c:showVal val="1"/>
              <c:showCatName val="0"/>
              <c:showSerName val="0"/>
              <c:showPercent val="0"/>
              <c:showBubbleSize val="0"/>
            </c:dLbl>
            <c:dLbl>
              <c:idx val="2"/>
              <c:tx>
                <c:rich>
                  <a:bodyPr/>
                  <a:lstStyle/>
                  <a:p>
                    <a:r>
                      <a:t>245.05</a:t>
                    </a:r>
                  </a:p>
                </c:rich>
              </c:tx>
              <c:dLblPos val="t"/>
              <c:showLegendKey val="0"/>
              <c:showVal val="1"/>
              <c:showCatName val="0"/>
              <c:showSerName val="0"/>
              <c:showPercent val="0"/>
              <c:showBubbleSize val="0"/>
            </c:dLbl>
            <c:dLbl>
              <c:idx val="3"/>
              <c:tx>
                <c:rich>
                  <a:bodyPr/>
                  <a:lstStyle/>
                  <a:p>
                    <a:r>
                      <a:t>21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04</c:v>
                </c:pt>
                <c:pt idx="1">
                  <c:v>259.27</c:v>
                </c:pt>
                <c:pt idx="2">
                  <c:v>245.05</c:v>
                </c:pt>
                <c:pt idx="3">
                  <c:v>21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1</a:t>
                    </a:r>
                  </a:p>
                </c:rich>
              </c:tx>
              <c:dLblPos val="t"/>
              <c:showLegendKey val="0"/>
              <c:showVal val="1"/>
              <c:showCatName val="0"/>
              <c:showSerName val="0"/>
              <c:showPercent val="0"/>
              <c:showBubbleSize val="0"/>
            </c:dLbl>
            <c:dLbl>
              <c:idx val="1"/>
              <c:tx>
                <c:rich>
                  <a:bodyPr/>
                  <a:lstStyle/>
                  <a:p>
                    <a:r>
                      <a:t>268.65</a:t>
                    </a:r>
                  </a:p>
                </c:rich>
              </c:tx>
              <c:dLblPos val="t"/>
              <c:showLegendKey val="0"/>
              <c:showVal val="1"/>
              <c:showCatName val="0"/>
              <c:showSerName val="0"/>
              <c:showPercent val="0"/>
              <c:showBubbleSize val="0"/>
            </c:dLbl>
            <c:dLbl>
              <c:idx val="2"/>
              <c:tx>
                <c:rich>
                  <a:bodyPr/>
                  <a:lstStyle/>
                  <a:p>
                    <a:r>
                      <a:t>263.78</a:t>
                    </a:r>
                  </a:p>
                </c:rich>
              </c:tx>
              <c:dLblPos val="t"/>
              <c:showLegendKey val="0"/>
              <c:showVal val="1"/>
              <c:showCatName val="0"/>
              <c:showSerName val="0"/>
              <c:showPercent val="0"/>
              <c:showBubbleSize val="0"/>
            </c:dLbl>
            <c:dLbl>
              <c:idx val="3"/>
              <c:tx>
                <c:rich>
                  <a:bodyPr/>
                  <a:lstStyle/>
                  <a:p>
                    <a:r>
                      <a:t>234.97</a:t>
                    </a:r>
                  </a:p>
                </c:rich>
              </c:tx>
              <c:dLblPos val="t"/>
              <c:showLegendKey val="0"/>
              <c:showVal val="1"/>
              <c:showCatName val="0"/>
              <c:showSerName val="0"/>
              <c:showPercent val="0"/>
              <c:showBubbleSize val="0"/>
            </c:dLbl>
            <c:dLbl>
              <c:idx val="4"/>
              <c:tx>
                <c:rich>
                  <a:bodyPr/>
                  <a:lstStyle/>
                  <a:p>
                    <a:r>
                      <a:t>39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strCache>
            </c:strRef>
          </c:cat>
          <c:val>
            <c:numRef>
              <c:f>Sheet1!$B$2:$B$6</c:f>
              <c:numCache>
                <c:formatCode>General</c:formatCode>
                <c:ptCount val="5"/>
                <c:pt idx="0">
                  <c:v>268.21</c:v>
                </c:pt>
                <c:pt idx="1">
                  <c:v>268.65</c:v>
                </c:pt>
                <c:pt idx="2">
                  <c:v>263.78</c:v>
                </c:pt>
                <c:pt idx="3">
                  <c:v>234.97</c:v>
                </c:pt>
                <c:pt idx="4">
                  <c:v>39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5.48</a:t>
                    </a:r>
                  </a:p>
                </c:rich>
              </c:tx>
              <c:dLblPos val="t"/>
              <c:showLegendKey val="0"/>
              <c:showVal val="1"/>
              <c:showCatName val="0"/>
              <c:showSerName val="0"/>
              <c:showPercent val="0"/>
              <c:showBubbleSize val="0"/>
            </c:dLbl>
            <c:dLbl>
              <c:idx val="1"/>
              <c:tx>
                <c:rich>
                  <a:bodyPr/>
                  <a:lstStyle/>
                  <a:p>
                    <a:r>
                      <a:t>351.2</a:t>
                    </a:r>
                  </a:p>
                </c:rich>
              </c:tx>
              <c:dLblPos val="t"/>
              <c:showLegendKey val="0"/>
              <c:showVal val="1"/>
              <c:showCatName val="0"/>
              <c:showSerName val="0"/>
              <c:showPercent val="0"/>
              <c:showBubbleSize val="0"/>
            </c:dLbl>
            <c:dLbl>
              <c:idx val="2"/>
              <c:tx>
                <c:rich>
                  <a:bodyPr/>
                  <a:lstStyle/>
                  <a:p>
                    <a:r>
                      <a:t>370.13</a:t>
                    </a:r>
                  </a:p>
                </c:rich>
              </c:tx>
              <c:dLblPos val="t"/>
              <c:showLegendKey val="0"/>
              <c:showVal val="1"/>
              <c:showCatName val="0"/>
              <c:showSerName val="0"/>
              <c:showPercent val="0"/>
              <c:showBubbleSize val="0"/>
            </c:dLbl>
            <c:dLbl>
              <c:idx val="3"/>
              <c:tx>
                <c:rich>
                  <a:bodyPr/>
                  <a:lstStyle/>
                  <a:p>
                    <a:r>
                      <a:t>398.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Sensitive Sunscreen Adults Cosmetics Liquido 50+ 180Ml</c:v>
                </c:pt>
              </c:strCache>
            </c:strRef>
          </c:cat>
          <c:val>
            <c:numRef>
              <c:f>Sheet1!$B$2:$B$5</c:f>
              <c:numCache>
                <c:formatCode>General</c:formatCode>
                <c:ptCount val="4"/>
                <c:pt idx="0">
                  <c:v>375.48</c:v>
                </c:pt>
                <c:pt idx="1">
                  <c:v>351.2</c:v>
                </c:pt>
                <c:pt idx="2">
                  <c:v>370.13</c:v>
                </c:pt>
                <c:pt idx="3">
                  <c:v>39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15 - 19 100Ml</c:v>
                </c:pt>
              </c:strCache>
            </c:strRef>
          </c:cat>
          <c:val>
            <c:numRef>
              <c:f>Sheet1!$B$2:$B$2</c:f>
              <c:numCache>
                <c:formatCode>General</c:formatCode>
                <c:ptCount val="1"/>
                <c:pt idx="0">
                  <c:v>224.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dLblPos val="t"/>
              <c:showLegendKey val="0"/>
              <c:showVal val="1"/>
              <c:showCatName val="0"/>
              <c:showSerName val="0"/>
              <c:showPercent val="0"/>
              <c:showBubbleSize val="0"/>
            </c:dLbl>
            <c:dLbl>
              <c:idx val="1"/>
              <c:tx>
                <c:rich>
                  <a:bodyPr/>
                  <a:lstStyle/>
                  <a:p>
                    <a:r>
                      <a:t>301.59</a:t>
                    </a:r>
                  </a:p>
                </c:rich>
              </c:tx>
              <c:dLblPos val="t"/>
              <c:showLegendKey val="0"/>
              <c:showVal val="1"/>
              <c:showCatName val="0"/>
              <c:showSerName val="0"/>
              <c:showPercent val="0"/>
              <c:showBubbleSize val="0"/>
            </c:dLbl>
            <c:dLbl>
              <c:idx val="2"/>
              <c:tx>
                <c:rich>
                  <a:bodyPr/>
                  <a:lstStyle/>
                  <a:p>
                    <a:r>
                      <a:t>296.61</a:t>
                    </a:r>
                  </a:p>
                </c:rich>
              </c:tx>
              <c:dLblPos val="t"/>
              <c:showLegendKey val="0"/>
              <c:showVal val="1"/>
              <c:showCatName val="0"/>
              <c:showSerName val="0"/>
              <c:showPercent val="0"/>
              <c:showBubbleSize val="0"/>
            </c:dLbl>
            <c:dLbl>
              <c:idx val="3"/>
              <c:tx>
                <c:rich>
                  <a:bodyPr/>
                  <a:lstStyle/>
                  <a:p>
                    <a:r>
                      <a:t>305.15</a:t>
                    </a:r>
                  </a:p>
                </c:rich>
              </c:tx>
              <c:dLblPos val="t"/>
              <c:showLegendKey val="0"/>
              <c:showVal val="1"/>
              <c:showCatName val="0"/>
              <c:showSerName val="0"/>
              <c:showPercent val="0"/>
              <c:showBubbleSize val="0"/>
            </c:dLbl>
            <c:dLbl>
              <c:idx val="4"/>
              <c:tx>
                <c:rich>
                  <a:bodyPr/>
                  <a:lstStyle/>
                  <a:p>
                    <a:r>
                      <a:t>326.36</a:t>
                    </a:r>
                  </a:p>
                </c:rich>
              </c:tx>
              <c:dLblPos val="t"/>
              <c:showLegendKey val="0"/>
              <c:showVal val="1"/>
              <c:showCatName val="0"/>
              <c:showSerName val="0"/>
              <c:showPercent val="0"/>
              <c:showBubbleSize val="0"/>
            </c:dLbl>
            <c:dLbl>
              <c:idx val="5"/>
              <c:tx>
                <c:rich>
                  <a:bodyPr/>
                  <a:lstStyle/>
                  <a:p>
                    <a:r>
                      <a:t>283.77</a:t>
                    </a:r>
                  </a:p>
                </c:rich>
              </c:tx>
              <c:dLblPos val="t"/>
              <c:showLegendKey val="0"/>
              <c:showVal val="1"/>
              <c:showCatName val="0"/>
              <c:showSerName val="0"/>
              <c:showPercent val="0"/>
              <c:showBubbleSize val="0"/>
            </c:dLbl>
            <c:dLbl>
              <c:idx val="6"/>
              <c:tx>
                <c:rich>
                  <a:bodyPr/>
                  <a:lstStyle/>
                  <a:p>
                    <a:r>
                      <a:t>302.86</a:t>
                    </a:r>
                  </a:p>
                </c:rich>
              </c:tx>
              <c:dLblPos val="t"/>
              <c:showLegendKey val="0"/>
              <c:showVal val="1"/>
              <c:showCatName val="0"/>
              <c:showSerName val="0"/>
              <c:showPercent val="0"/>
              <c:showBubbleSize val="0"/>
            </c:dLbl>
            <c:dLbl>
              <c:idx val="7"/>
              <c:tx>
                <c:rich>
                  <a:bodyPr/>
                  <a:lstStyle/>
                  <a:p>
                    <a:r>
                      <a:t>325.25</a:t>
                    </a:r>
                  </a:p>
                </c:rich>
              </c:tx>
              <c:dLblPos val="t"/>
              <c:showLegendKey val="0"/>
              <c:showVal val="1"/>
              <c:showCatName val="0"/>
              <c:showSerName val="0"/>
              <c:showPercent val="0"/>
              <c:showBubbleSize val="0"/>
            </c:dLbl>
            <c:dLbl>
              <c:idx val="8"/>
              <c:tx>
                <c:rich>
                  <a:bodyPr/>
                  <a:lstStyle/>
                  <a:p>
                    <a:r>
                      <a:t>307.23</a:t>
                    </a:r>
                  </a:p>
                </c:rich>
              </c:tx>
              <c:dLblPos val="t"/>
              <c:showLegendKey val="0"/>
              <c:showVal val="1"/>
              <c:showCatName val="0"/>
              <c:showSerName val="0"/>
              <c:showPercent val="0"/>
              <c:showBubbleSize val="0"/>
            </c:dLbl>
            <c:dLbl>
              <c:idx val="9"/>
              <c:tx>
                <c:rich>
                  <a:bodyPr/>
                  <a:lstStyle/>
                  <a:p>
                    <a:r>
                      <a:t>312.26</a:t>
                    </a:r>
                  </a:p>
                </c:rich>
              </c:tx>
              <c:dLblPos val="t"/>
              <c:showLegendKey val="0"/>
              <c:showVal val="1"/>
              <c:showCatName val="0"/>
              <c:showSerName val="0"/>
              <c:showPercent val="0"/>
              <c:showBubbleSize val="0"/>
            </c:dLbl>
            <c:dLbl>
              <c:idx val="10"/>
              <c:tx>
                <c:rich>
                  <a:bodyPr/>
                  <a:lstStyle/>
                  <a:p>
                    <a:r>
                      <a:t>258.77</a:t>
                    </a:r>
                  </a:p>
                </c:rich>
              </c:tx>
              <c:dLblPos val="t"/>
              <c:showLegendKey val="0"/>
              <c:showVal val="1"/>
              <c:showCatName val="0"/>
              <c:showSerName val="0"/>
              <c:showPercent val="0"/>
              <c:showBubbleSize val="0"/>
            </c:dLbl>
            <c:dLbl>
              <c:idx val="11"/>
              <c:tx>
                <c:rich>
                  <a:bodyPr/>
                  <a:lstStyle/>
                  <a:p>
                    <a:r>
                      <a:t>311.89</a:t>
                    </a:r>
                  </a:p>
                </c:rich>
              </c:tx>
              <c:dLblPos val="t"/>
              <c:showLegendKey val="0"/>
              <c:showVal val="1"/>
              <c:showCatName val="0"/>
              <c:showSerName val="0"/>
              <c:showPercent val="0"/>
              <c:showBubbleSize val="0"/>
            </c:dLbl>
            <c:dLbl>
              <c:idx val="12"/>
              <c:tx>
                <c:rich>
                  <a:bodyPr/>
                  <a:lstStyle/>
                  <a:p>
                    <a:r>
                      <a:t>188.44</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83.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Dry Balance Sunscreen Adults Sport Spray Liquido 50 220Ml</c:v>
                </c:pt>
                <c:pt idx="7">
                  <c:v>Edgewell Hawaiian Tropic Island Sport Sunscreen Adults Sport Spray Liquido 50 220Ml</c:v>
                </c:pt>
                <c:pt idx="8">
                  <c:v>Edgewell Banana Boat Advanced Protection Sunscreen Adults Cosmetics Liquido 50+ 240Ml</c:v>
                </c:pt>
                <c:pt idx="9">
                  <c:v>Edgewell Banana Boat Aqua Protect Sunscreen Adults Cosmetics Spray Liquido 50+ 170Ml</c:v>
                </c:pt>
                <c:pt idx="10">
                  <c:v>Edgewell Banana Boat Banded Pack Banded Pack 2X Sunscreen Multi 50+ 236Ml</c:v>
                </c:pt>
                <c:pt idx="11">
                  <c:v>Edgewell Hawaiian Tropic Ozono Sunscreen Adults Cosmetics Spray Liquido 50+ 180Ml</c:v>
                </c:pt>
                <c:pt idx="12">
                  <c:v>Edgewell Hawaiian Tropic Sheer Touch Sunscreen Adults Cosmetics Crema 50 12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2.7</c:v>
                </c:pt>
                <c:pt idx="1">
                  <c:v>301.59</c:v>
                </c:pt>
                <c:pt idx="2">
                  <c:v>296.61</c:v>
                </c:pt>
                <c:pt idx="3">
                  <c:v>305.15</c:v>
                </c:pt>
                <c:pt idx="4">
                  <c:v>326.36</c:v>
                </c:pt>
                <c:pt idx="5">
                  <c:v>283.77</c:v>
                </c:pt>
                <c:pt idx="6">
                  <c:v>302.86</c:v>
                </c:pt>
                <c:pt idx="7">
                  <c:v>325.25</c:v>
                </c:pt>
                <c:pt idx="8">
                  <c:v>307.23</c:v>
                </c:pt>
                <c:pt idx="9">
                  <c:v>312.26</c:v>
                </c:pt>
                <c:pt idx="10">
                  <c:v>258.77</c:v>
                </c:pt>
                <c:pt idx="11">
                  <c:v>311.89</c:v>
                </c:pt>
                <c:pt idx="12">
                  <c:v>188.44</c:v>
                </c:pt>
                <c:pt idx="13">
                  <c:v>148.93</c:v>
                </c:pt>
                <c:pt idx="14">
                  <c:v>2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dLblPos val="t"/>
              <c:showLegendKey val="0"/>
              <c:showVal val="1"/>
              <c:showCatName val="0"/>
              <c:showSerName val="0"/>
              <c:showPercent val="0"/>
              <c:showBubbleSize val="0"/>
            </c:dLbl>
            <c:dLbl>
              <c:idx val="1"/>
              <c:tx>
                <c:rich>
                  <a:bodyPr/>
                  <a:lstStyle/>
                  <a:p>
                    <a:r>
                      <a:t>326.36</a:t>
                    </a:r>
                  </a:p>
                </c:rich>
              </c:tx>
              <c:dLblPos val="t"/>
              <c:showLegendKey val="0"/>
              <c:showVal val="1"/>
              <c:showCatName val="0"/>
              <c:showSerName val="0"/>
              <c:showPercent val="0"/>
              <c:showBubbleSize val="0"/>
            </c:dLbl>
            <c:dLbl>
              <c:idx val="2"/>
              <c:tx>
                <c:rich>
                  <a:bodyPr/>
                  <a:lstStyle/>
                  <a:p>
                    <a:r>
                      <a:t>283.77</a:t>
                    </a:r>
                  </a:p>
                </c:rich>
              </c:tx>
              <c:dLblPos val="t"/>
              <c:showLegendKey val="0"/>
              <c:showVal val="1"/>
              <c:showCatName val="0"/>
              <c:showSerName val="0"/>
              <c:showPercent val="0"/>
              <c:showBubbleSize val="0"/>
            </c:dLbl>
            <c:dLbl>
              <c:idx val="3"/>
              <c:tx>
                <c:rich>
                  <a:bodyPr/>
                  <a:lstStyle/>
                  <a:p>
                    <a:r>
                      <a:t>302.86</a:t>
                    </a:r>
                  </a:p>
                </c:rich>
              </c:tx>
              <c:dLblPos val="t"/>
              <c:showLegendKey val="0"/>
              <c:showVal val="1"/>
              <c:showCatName val="0"/>
              <c:showSerName val="0"/>
              <c:showPercent val="0"/>
              <c:showBubbleSize val="0"/>
            </c:dLbl>
            <c:dLbl>
              <c:idx val="4"/>
              <c:tx>
                <c:rich>
                  <a:bodyPr/>
                  <a:lstStyle/>
                  <a:p>
                    <a:r>
                      <a:t>307.23</a:t>
                    </a:r>
                  </a:p>
                </c:rich>
              </c:tx>
              <c:dLblPos val="t"/>
              <c:showLegendKey val="0"/>
              <c:showVal val="1"/>
              <c:showCatName val="0"/>
              <c:showSerName val="0"/>
              <c:showPercent val="0"/>
              <c:showBubbleSize val="0"/>
            </c:dLbl>
            <c:dLbl>
              <c:idx val="5"/>
              <c:tx>
                <c:rich>
                  <a:bodyPr/>
                  <a:lstStyle/>
                  <a:p>
                    <a:r>
                      <a:t>312.26</a:t>
                    </a:r>
                  </a:p>
                </c:rich>
              </c:tx>
              <c:dLblPos val="t"/>
              <c:showLegendKey val="0"/>
              <c:showVal val="1"/>
              <c:showCatName val="0"/>
              <c:showSerName val="0"/>
              <c:showPercent val="0"/>
              <c:showBubbleSize val="0"/>
            </c:dLbl>
            <c:dLbl>
              <c:idx val="6"/>
              <c:tx>
                <c:rich>
                  <a:bodyPr/>
                  <a:lstStyle/>
                  <a:p>
                    <a:r>
                      <a:t>258.77</a:t>
                    </a:r>
                  </a:p>
                </c:rich>
              </c:tx>
              <c:dLblPos val="t"/>
              <c:showLegendKey val="0"/>
              <c:showVal val="1"/>
              <c:showCatName val="0"/>
              <c:showSerName val="0"/>
              <c:showPercent val="0"/>
              <c:showBubbleSize val="0"/>
            </c:dLbl>
            <c:dLbl>
              <c:idx val="7"/>
              <c:tx>
                <c:rich>
                  <a:bodyPr/>
                  <a:lstStyle/>
                  <a:p>
                    <a:r>
                      <a:t>85.3</a:t>
                    </a:r>
                  </a:p>
                </c:rich>
              </c:tx>
              <c:dLblPos val="t"/>
              <c:showLegendKey val="0"/>
              <c:showVal val="1"/>
              <c:showCatName val="0"/>
              <c:showSerName val="0"/>
              <c:showPercent val="0"/>
              <c:showBubbleSize val="0"/>
            </c:dLbl>
            <c:dLbl>
              <c:idx val="8"/>
              <c:tx>
                <c:rich>
                  <a:bodyPr/>
                  <a:lstStyle/>
                  <a:p>
                    <a:r>
                      <a:t>331.67</a:t>
                    </a:r>
                  </a:p>
                </c:rich>
              </c:tx>
              <c:dLblPos val="t"/>
              <c:showLegendKey val="0"/>
              <c:showVal val="1"/>
              <c:showCatName val="0"/>
              <c:showSerName val="0"/>
              <c:showPercent val="0"/>
              <c:showBubbleSize val="0"/>
            </c:dLbl>
            <c:dLbl>
              <c:idx val="9"/>
              <c:tx>
                <c:rich>
                  <a:bodyPr/>
                  <a:lstStyle/>
                  <a:p>
                    <a:r>
                      <a:t>324.11</a:t>
                    </a:r>
                  </a:p>
                </c:rich>
              </c:tx>
              <c:dLblPos val="t"/>
              <c:showLegendKey val="0"/>
              <c:showVal val="1"/>
              <c:showCatName val="0"/>
              <c:showSerName val="0"/>
              <c:showPercent val="0"/>
              <c:showBubbleSize val="0"/>
            </c:dLbl>
            <c:dLbl>
              <c:idx val="10"/>
              <c:tx>
                <c:rich>
                  <a:bodyPr/>
                  <a:lstStyle/>
                  <a:p>
                    <a:r>
                      <a:t>334.39</a:t>
                    </a:r>
                  </a:p>
                </c:rich>
              </c:tx>
              <c:dLblPos val="t"/>
              <c:showLegendKey val="0"/>
              <c:showVal val="1"/>
              <c:showCatName val="0"/>
              <c:showSerName val="0"/>
              <c:showPercent val="0"/>
              <c:showBubbleSize val="0"/>
            </c:dLbl>
            <c:dLbl>
              <c:idx val="11"/>
              <c:tx>
                <c:rich>
                  <a:bodyPr/>
                  <a:lstStyle/>
                  <a:p>
                    <a:r>
                      <a:t>297.2</a:t>
                    </a:r>
                  </a:p>
                </c:rich>
              </c:tx>
              <c:dLblPos val="t"/>
              <c:showLegendKey val="0"/>
              <c:showVal val="1"/>
              <c:showCatName val="0"/>
              <c:showSerName val="0"/>
              <c:showPercent val="0"/>
              <c:showBubbleSize val="0"/>
            </c:dLbl>
            <c:dLbl>
              <c:idx val="12"/>
              <c:tx>
                <c:rich>
                  <a:bodyPr/>
                  <a:lstStyle/>
                  <a:p>
                    <a:r>
                      <a:t>246.2</a:t>
                    </a:r>
                  </a:p>
                </c:rich>
              </c:tx>
              <c:dLblPos val="t"/>
              <c:showLegendKey val="0"/>
              <c:showVal val="1"/>
              <c:showCatName val="0"/>
              <c:showSerName val="0"/>
              <c:showPercent val="0"/>
              <c:showBubbleSize val="0"/>
            </c:dLbl>
            <c:dLbl>
              <c:idx val="13"/>
              <c:tx>
                <c:rich>
                  <a:bodyPr/>
                  <a:lstStyle/>
                  <a:p>
                    <a:r>
                      <a:t>254.4</a:t>
                    </a:r>
                  </a:p>
                </c:rich>
              </c:tx>
              <c:dLblPos val="t"/>
              <c:showLegendKey val="0"/>
              <c:showVal val="1"/>
              <c:showCatName val="0"/>
              <c:showSerName val="0"/>
              <c:showPercent val="0"/>
              <c:showBubbleSize val="0"/>
            </c:dLbl>
            <c:dLbl>
              <c:idx val="14"/>
              <c:tx>
                <c:rich>
                  <a:bodyPr/>
                  <a:lstStyle/>
                  <a:p>
                    <a:r>
                      <a:t>148.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Edgewell Banana Boat Aqua Protect Sunscreen Adults Cosmetics Spray Liquido 50+ 17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Cosmetics Locion 50 180Ml</c:v>
                </c:pt>
                <c:pt idx="10">
                  <c:v>Edgewell Banana Boat Mineral Sunscreen Adults Sport Locion 50 180Ml</c:v>
                </c:pt>
                <c:pt idx="11">
                  <c:v>Edgewell Banana Boat Dry Balance Sunscreen Adults Sport Crema 50+ 180Ml</c:v>
                </c:pt>
                <c:pt idx="12">
                  <c:v>Edgewell Banana Boat Advanced Protection Sunscreen Adults Cosmetics Liquido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296.61</c:v>
                </c:pt>
                <c:pt idx="1">
                  <c:v>326.36</c:v>
                </c:pt>
                <c:pt idx="2">
                  <c:v>283.77</c:v>
                </c:pt>
                <c:pt idx="3">
                  <c:v>302.86</c:v>
                </c:pt>
                <c:pt idx="4">
                  <c:v>307.23</c:v>
                </c:pt>
                <c:pt idx="5">
                  <c:v>312.26</c:v>
                </c:pt>
                <c:pt idx="6">
                  <c:v>258.77</c:v>
                </c:pt>
                <c:pt idx="7">
                  <c:v>85.3</c:v>
                </c:pt>
                <c:pt idx="8">
                  <c:v>331.67</c:v>
                </c:pt>
                <c:pt idx="9">
                  <c:v>324.11</c:v>
                </c:pt>
                <c:pt idx="10">
                  <c:v>334.39</c:v>
                </c:pt>
                <c:pt idx="11">
                  <c:v>297.2</c:v>
                </c:pt>
                <c:pt idx="12">
                  <c:v>246.2</c:v>
                </c:pt>
                <c:pt idx="13">
                  <c:v>254.4</c:v>
                </c:pt>
                <c:pt idx="14">
                  <c:v>14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dLblPos val="t"/>
              <c:showLegendKey val="0"/>
              <c:showVal val="1"/>
              <c:showCatName val="0"/>
              <c:showSerName val="0"/>
              <c:showPercent val="0"/>
              <c:showBubbleSize val="0"/>
            </c:dLbl>
            <c:dLbl>
              <c:idx val="1"/>
              <c:tx>
                <c:rich>
                  <a:bodyPr/>
                  <a:lstStyle/>
                  <a:p>
                    <a:r>
                      <a:t>306.84</a:t>
                    </a:r>
                  </a:p>
                </c:rich>
              </c:tx>
              <c:dLblPos val="t"/>
              <c:showLegendKey val="0"/>
              <c:showVal val="1"/>
              <c:showCatName val="0"/>
              <c:showSerName val="0"/>
              <c:showPercent val="0"/>
              <c:showBubbleSize val="0"/>
            </c:dLbl>
            <c:dLbl>
              <c:idx val="2"/>
              <c:tx>
                <c:rich>
                  <a:bodyPr/>
                  <a:lstStyle/>
                  <a:p>
                    <a:r>
                      <a:t>303.99</a:t>
                    </a:r>
                  </a:p>
                </c:rich>
              </c:tx>
              <c:dLblPos val="t"/>
              <c:showLegendKey val="0"/>
              <c:showVal val="1"/>
              <c:showCatName val="0"/>
              <c:showSerName val="0"/>
              <c:showPercent val="0"/>
              <c:showBubbleSize val="0"/>
            </c:dLbl>
            <c:dLbl>
              <c:idx val="3"/>
              <c:tx>
                <c:rich>
                  <a:bodyPr/>
                  <a:lstStyle/>
                  <a:p>
                    <a:r>
                      <a:t>308.69</a:t>
                    </a:r>
                  </a:p>
                </c:rich>
              </c:tx>
              <c:dLblPos val="t"/>
              <c:showLegendKey val="0"/>
              <c:showVal val="1"/>
              <c:showCatName val="0"/>
              <c:showSerName val="0"/>
              <c:showPercent val="0"/>
              <c:showBubbleSize val="0"/>
            </c:dLbl>
            <c:dLbl>
              <c:idx val="4"/>
              <c:tx>
                <c:rich>
                  <a:bodyPr/>
                  <a:lstStyle/>
                  <a:p>
                    <a:r>
                      <a:t>338.04</a:t>
                    </a:r>
                  </a:p>
                </c:rich>
              </c:tx>
              <c:dLblPos val="t"/>
              <c:showLegendKey val="0"/>
              <c:showVal val="1"/>
              <c:showCatName val="0"/>
              <c:showSerName val="0"/>
              <c:showPercent val="0"/>
              <c:showBubbleSize val="0"/>
            </c:dLbl>
            <c:dLbl>
              <c:idx val="5"/>
              <c:tx>
                <c:rich>
                  <a:bodyPr/>
                  <a:lstStyle/>
                  <a:p>
                    <a:r>
                      <a:t>290.72</a:t>
                    </a:r>
                  </a:p>
                </c:rich>
              </c:tx>
              <c:dLblPos val="t"/>
              <c:showLegendKey val="0"/>
              <c:showVal val="1"/>
              <c:showCatName val="0"/>
              <c:showSerName val="0"/>
              <c:showPercent val="0"/>
              <c:showBubbleSize val="0"/>
            </c:dLbl>
            <c:dLbl>
              <c:idx val="6"/>
              <c:tx>
                <c:rich>
                  <a:bodyPr/>
                  <a:lstStyle/>
                  <a:p>
                    <a:r>
                      <a:t>316.05</a:t>
                    </a:r>
                  </a:p>
                </c:rich>
              </c:tx>
              <c:dLblPos val="t"/>
              <c:showLegendKey val="0"/>
              <c:showVal val="1"/>
              <c:showCatName val="0"/>
              <c:showSerName val="0"/>
              <c:showPercent val="0"/>
              <c:showBubbleSize val="0"/>
            </c:dLbl>
            <c:dLbl>
              <c:idx val="7"/>
              <c:tx>
                <c:rich>
                  <a:bodyPr/>
                  <a:lstStyle/>
                  <a:p>
                    <a:r>
                      <a:t>334.03</a:t>
                    </a:r>
                  </a:p>
                </c:rich>
              </c:tx>
              <c:dLblPos val="t"/>
              <c:showLegendKey val="0"/>
              <c:showVal val="1"/>
              <c:showCatName val="0"/>
              <c:showSerName val="0"/>
              <c:showPercent val="0"/>
              <c:showBubbleSize val="0"/>
            </c:dLbl>
            <c:dLbl>
              <c:idx val="8"/>
              <c:tx>
                <c:rich>
                  <a:bodyPr/>
                  <a:lstStyle/>
                  <a:p>
                    <a:r>
                      <a:t>310.2</a:t>
                    </a:r>
                  </a:p>
                </c:rich>
              </c:tx>
              <c:dLblPos val="t"/>
              <c:showLegendKey val="0"/>
              <c:showVal val="1"/>
              <c:showCatName val="0"/>
              <c:showSerName val="0"/>
              <c:showPercent val="0"/>
              <c:showBubbleSize val="0"/>
            </c:dLbl>
            <c:dLbl>
              <c:idx val="9"/>
              <c:tx>
                <c:rich>
                  <a:bodyPr/>
                  <a:lstStyle/>
                  <a:p>
                    <a:r>
                      <a:t>317.39</a:t>
                    </a:r>
                  </a:p>
                </c:rich>
              </c:tx>
              <c:dLblPos val="t"/>
              <c:showLegendKey val="0"/>
              <c:showVal val="1"/>
              <c:showCatName val="0"/>
              <c:showSerName val="0"/>
              <c:showPercent val="0"/>
              <c:showBubbleSize val="0"/>
            </c:dLbl>
            <c:dLbl>
              <c:idx val="10"/>
              <c:tx>
                <c:rich>
                  <a:bodyPr/>
                  <a:lstStyle/>
                  <a:p>
                    <a:r>
                      <a:t>269.13</a:t>
                    </a:r>
                  </a:p>
                </c:rich>
              </c:tx>
              <c:dLblPos val="t"/>
              <c:showLegendKey val="0"/>
              <c:showVal val="1"/>
              <c:showCatName val="0"/>
              <c:showSerName val="0"/>
              <c:showPercent val="0"/>
              <c:showBubbleSize val="0"/>
            </c:dLbl>
            <c:dLbl>
              <c:idx val="11"/>
              <c:tx>
                <c:rich>
                  <a:bodyPr/>
                  <a:lstStyle/>
                  <a:p>
                    <a:r>
                      <a:t>189.32</a:t>
                    </a:r>
                  </a:p>
                </c:rich>
              </c:tx>
              <c:dLblPos val="t"/>
              <c:showLegendKey val="0"/>
              <c:showVal val="1"/>
              <c:showCatName val="0"/>
              <c:showSerName val="0"/>
              <c:showPercent val="0"/>
              <c:showBubbleSize val="0"/>
            </c:dLbl>
            <c:dLbl>
              <c:idx val="12"/>
              <c:tx>
                <c:rich>
                  <a:bodyPr/>
                  <a:lstStyle/>
                  <a:p>
                    <a:r>
                      <a:t>327.07</a:t>
                    </a:r>
                  </a:p>
                </c:rich>
              </c:tx>
              <c:dLblPos val="t"/>
              <c:showLegendKey val="0"/>
              <c:showVal val="1"/>
              <c:showCatName val="0"/>
              <c:showSerName val="0"/>
              <c:showPercent val="0"/>
              <c:showBubbleSize val="0"/>
            </c:dLbl>
            <c:dLbl>
              <c:idx val="13"/>
              <c:tx>
                <c:rich>
                  <a:bodyPr/>
                  <a:lstStyle/>
                  <a:p>
                    <a:r>
                      <a:t>149.69</a:t>
                    </a:r>
                  </a:p>
                </c:rich>
              </c:tx>
              <c:dLblPos val="t"/>
              <c:showLegendKey val="0"/>
              <c:showVal val="1"/>
              <c:showCatName val="0"/>
              <c:showSerName val="0"/>
              <c:showPercent val="0"/>
              <c:showBubbleSize val="0"/>
            </c:dLbl>
            <c:dLbl>
              <c:idx val="14"/>
              <c:tx>
                <c:rich>
                  <a:bodyPr/>
                  <a:lstStyle/>
                  <a:p>
                    <a:r>
                      <a:t>287.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Dry Balance Sunscreen Adults Sport Spray Liquido 50 220Ml</c:v>
                </c:pt>
                <c:pt idx="7">
                  <c:v>Edgewell Hawaiian Tropic Island Sport Sunscreen Adults Sport Spray Liquido 50 220Ml</c:v>
                </c:pt>
                <c:pt idx="8">
                  <c:v>Edgewell Banana Boat Advanced Protection Sunscreen Adults Cosmetics Liquido 50+ 240Ml</c:v>
                </c:pt>
                <c:pt idx="9">
                  <c:v>Edgewell Banana Boat Aqua Protect Sunscreen Adults Cosmetics Spray Liquido 50+ 170Ml</c:v>
                </c:pt>
                <c:pt idx="10">
                  <c:v>Edgewell Banana Boat Banded Pack Banded Pack 2X Sunscreen Multi 50+ 236Ml</c:v>
                </c:pt>
                <c:pt idx="11">
                  <c:v>Edgewell Hawaiian Tropic Sheer Touch Sunscreen Adults Cosmetics Crema 50 120Ml</c:v>
                </c:pt>
                <c:pt idx="12">
                  <c:v>Edgewell Hawaiian Tropic Ozono Sunscreen Adults Cosmetics Spray Liquido 50+ 18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5.74</c:v>
                </c:pt>
                <c:pt idx="1">
                  <c:v>306.84</c:v>
                </c:pt>
                <c:pt idx="2">
                  <c:v>303.99</c:v>
                </c:pt>
                <c:pt idx="3">
                  <c:v>308.69</c:v>
                </c:pt>
                <c:pt idx="4">
                  <c:v>338.04</c:v>
                </c:pt>
                <c:pt idx="5">
                  <c:v>290.72</c:v>
                </c:pt>
                <c:pt idx="6">
                  <c:v>316.05</c:v>
                </c:pt>
                <c:pt idx="7">
                  <c:v>334.03</c:v>
                </c:pt>
                <c:pt idx="8">
                  <c:v>310.2</c:v>
                </c:pt>
                <c:pt idx="9">
                  <c:v>317.39</c:v>
                </c:pt>
                <c:pt idx="10">
                  <c:v>269.13</c:v>
                </c:pt>
                <c:pt idx="11">
                  <c:v>189.32</c:v>
                </c:pt>
                <c:pt idx="12">
                  <c:v>327.07</c:v>
                </c:pt>
                <c:pt idx="13">
                  <c:v>149.69</c:v>
                </c:pt>
                <c:pt idx="14">
                  <c:v>287.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dLblPos val="t"/>
              <c:showLegendKey val="0"/>
              <c:showVal val="1"/>
              <c:showCatName val="0"/>
              <c:showSerName val="0"/>
              <c:showPercent val="0"/>
              <c:showBubbleSize val="0"/>
            </c:dLbl>
            <c:dLbl>
              <c:idx val="1"/>
              <c:tx>
                <c:rich>
                  <a:bodyPr/>
                  <a:lstStyle/>
                  <a:p>
                    <a:r>
                      <a:t>318.53</a:t>
                    </a:r>
                  </a:p>
                </c:rich>
              </c:tx>
              <c:dLblPos val="t"/>
              <c:showLegendKey val="0"/>
              <c:showVal val="1"/>
              <c:showCatName val="0"/>
              <c:showSerName val="0"/>
              <c:showPercent val="0"/>
              <c:showBubbleSize val="0"/>
            </c:dLbl>
            <c:dLbl>
              <c:idx val="2"/>
              <c:tx>
                <c:rich>
                  <a:bodyPr/>
                  <a:lstStyle/>
                  <a:p>
                    <a:r>
                      <a:t>348.86</a:t>
                    </a:r>
                  </a:p>
                </c:rich>
              </c:tx>
              <c:dLblPos val="t"/>
              <c:showLegendKey val="0"/>
              <c:showVal val="1"/>
              <c:showCatName val="0"/>
              <c:showSerName val="0"/>
              <c:showPercent val="0"/>
              <c:showBubbleSize val="0"/>
            </c:dLbl>
            <c:dLbl>
              <c:idx val="3"/>
              <c:tx>
                <c:rich>
                  <a:bodyPr/>
                  <a:lstStyle/>
                  <a:p>
                    <a:r>
                      <a:t>347.12</a:t>
                    </a:r>
                  </a:p>
                </c:rich>
              </c:tx>
              <c:dLblPos val="t"/>
              <c:showLegendKey val="0"/>
              <c:showVal val="1"/>
              <c:showCatName val="0"/>
              <c:showSerName val="0"/>
              <c:showPercent val="0"/>
              <c:showBubbleSize val="0"/>
            </c:dLbl>
            <c:dLbl>
              <c:idx val="4"/>
              <c:tx>
                <c:rich>
                  <a:bodyPr/>
                  <a:lstStyle/>
                  <a:p>
                    <a:r>
                      <a:t>330.0</a:t>
                    </a:r>
                  </a:p>
                </c:rich>
              </c:tx>
              <c:dLblPos val="t"/>
              <c:showLegendKey val="0"/>
              <c:showVal val="1"/>
              <c:showCatName val="0"/>
              <c:showSerName val="0"/>
              <c:showPercent val="0"/>
              <c:showBubbleSize val="0"/>
            </c:dLbl>
            <c:dLbl>
              <c:idx val="5"/>
              <c:tx>
                <c:rich>
                  <a:bodyPr/>
                  <a:lstStyle/>
                  <a:p>
                    <a:r>
                      <a:t>339.06</a:t>
                    </a:r>
                  </a:p>
                </c:rich>
              </c:tx>
              <c:dLblPos val="t"/>
              <c:showLegendKey val="0"/>
              <c:showVal val="1"/>
              <c:showCatName val="0"/>
              <c:showSerName val="0"/>
              <c:showPercent val="0"/>
              <c:showBubbleSize val="0"/>
            </c:dLbl>
            <c:dLbl>
              <c:idx val="6"/>
              <c:tx>
                <c:rich>
                  <a:bodyPr/>
                  <a:lstStyle/>
                  <a:p>
                    <a:r>
                      <a:t>330.54</a:t>
                    </a:r>
                  </a:p>
                </c:rich>
              </c:tx>
              <c:dLblPos val="t"/>
              <c:showLegendKey val="0"/>
              <c:showVal val="1"/>
              <c:showCatName val="0"/>
              <c:showSerName val="0"/>
              <c:showPercent val="0"/>
              <c:showBubbleSize val="0"/>
            </c:dLbl>
            <c:dLbl>
              <c:idx val="7"/>
              <c:tx>
                <c:rich>
                  <a:bodyPr/>
                  <a:lstStyle/>
                  <a:p>
                    <a:r>
                      <a:t>329.19</a:t>
                    </a:r>
                  </a:p>
                </c:rich>
              </c:tx>
              <c:dLblPos val="t"/>
              <c:showLegendKey val="0"/>
              <c:showVal val="1"/>
              <c:showCatName val="0"/>
              <c:showSerName val="0"/>
              <c:showPercent val="0"/>
              <c:showBubbleSize val="0"/>
            </c:dLbl>
            <c:dLbl>
              <c:idx val="8"/>
              <c:tx>
                <c:rich>
                  <a:bodyPr/>
                  <a:lstStyle/>
                  <a:p>
                    <a:r>
                      <a:t>91.75</a:t>
                    </a:r>
                  </a:p>
                </c:rich>
              </c:tx>
              <c:dLblPos val="t"/>
              <c:showLegendKey val="0"/>
              <c:showVal val="1"/>
              <c:showCatName val="0"/>
              <c:showSerName val="0"/>
              <c:showPercent val="0"/>
              <c:showBubbleSize val="0"/>
            </c:dLbl>
            <c:dLbl>
              <c:idx val="9"/>
              <c:tx>
                <c:rich>
                  <a:bodyPr/>
                  <a:lstStyle/>
                  <a:p>
                    <a:r>
                      <a:t>359.99</a:t>
                    </a:r>
                  </a:p>
                </c:rich>
              </c:tx>
              <c:dLblPos val="t"/>
              <c:showLegendKey val="0"/>
              <c:showVal val="1"/>
              <c:showCatName val="0"/>
              <c:showSerName val="0"/>
              <c:showPercent val="0"/>
              <c:showBubbleSize val="0"/>
            </c:dLbl>
            <c:dLbl>
              <c:idx val="10"/>
              <c:tx>
                <c:rich>
                  <a:bodyPr/>
                  <a:lstStyle/>
                  <a:p>
                    <a:r>
                      <a:t>417.8</a:t>
                    </a:r>
                  </a:p>
                </c:rich>
              </c:tx>
              <c:dLblPos val="t"/>
              <c:showLegendKey val="0"/>
              <c:showVal val="1"/>
              <c:showCatName val="0"/>
              <c:showSerName val="0"/>
              <c:showPercent val="0"/>
              <c:showBubbleSize val="0"/>
            </c:dLbl>
            <c:dLbl>
              <c:idx val="11"/>
              <c:tx>
                <c:rich>
                  <a:bodyPr/>
                  <a:lstStyle/>
                  <a:p>
                    <a:r>
                      <a:t>358.05</a:t>
                    </a:r>
                  </a:p>
                </c:rich>
              </c:tx>
              <c:dLblPos val="t"/>
              <c:showLegendKey val="0"/>
              <c:showVal val="1"/>
              <c:showCatName val="0"/>
              <c:showSerName val="0"/>
              <c:showPercent val="0"/>
              <c:showBubbleSize val="0"/>
            </c:dLbl>
            <c:dLbl>
              <c:idx val="12"/>
              <c:tx>
                <c:rich>
                  <a:bodyPr/>
                  <a:lstStyle/>
                  <a:p>
                    <a:r>
                      <a:t>325.31</a:t>
                    </a:r>
                  </a:p>
                </c:rich>
              </c:tx>
              <c:dLblPos val="t"/>
              <c:showLegendKey val="0"/>
              <c:showVal val="1"/>
              <c:showCatName val="0"/>
              <c:showSerName val="0"/>
              <c:showPercent val="0"/>
              <c:showBubbleSize val="0"/>
            </c:dLbl>
            <c:dLbl>
              <c:idx val="13"/>
              <c:tx>
                <c:rich>
                  <a:bodyPr/>
                  <a:lstStyle/>
                  <a:p>
                    <a:r>
                      <a:t>159.67</a:t>
                    </a:r>
                  </a:p>
                </c:rich>
              </c:tx>
              <c:dLblPos val="t"/>
              <c:showLegendKey val="0"/>
              <c:showVal val="1"/>
              <c:showCatName val="0"/>
              <c:showSerName val="0"/>
              <c:showPercent val="0"/>
              <c:showBubbleSize val="0"/>
            </c:dLbl>
            <c:dLbl>
              <c:idx val="14"/>
              <c:tx>
                <c:rich>
                  <a:bodyPr/>
                  <a:lstStyle/>
                  <a:p>
                    <a:r>
                      <a:t>277.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Spray Liquido 50 220Ml</c:v>
                </c:pt>
                <c:pt idx="4">
                  <c:v>Edgewell Hawaiian Tropic Island Sport Sunscreen Adults Sport Liquido 50 240Ml</c:v>
                </c:pt>
                <c:pt idx="5">
                  <c:v>Edgewell Banana Boat Aqua Protect Sunscreen Adults Cosmetics Spray Liquido 50+ 170Ml</c:v>
                </c:pt>
                <c:pt idx="6">
                  <c:v>Edgewell Banana Boat Advanced Protection Sunscreen Adults Cosmetics Liquido 50+ 240Ml</c:v>
                </c:pt>
                <c:pt idx="7">
                  <c:v>Edgewell Banana Boat Dry Balance Sunscreen Adults Sport Spray Liquido 50 220Ml</c:v>
                </c:pt>
                <c:pt idx="8">
                  <c:v>Edgewell Banana Boat Advanced Protection Sunscreen Adults Cosmetics Liquido 50+ 60Ml</c:v>
                </c:pt>
                <c:pt idx="9">
                  <c:v>Edgewell Banana Boat Mineral Sunscreen Kids Cosmetics Locion 50 180Ml</c:v>
                </c:pt>
                <c:pt idx="10">
                  <c:v>Edgewell Banana Boat Banded Pack Banded Pack 2X Sunscreen Multi 50+ 170Ml</c:v>
                </c:pt>
                <c:pt idx="11">
                  <c:v>Edgewell Banana Boat Mineral Sunscreen Adults Sport Locion 50 180Ml</c:v>
                </c:pt>
                <c:pt idx="12">
                  <c:v>Edgewell Hawaiian Tropic Ozono Sunscreen Adults Cosmetics Spray Liquido 50+ 18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5.33</c:v>
                </c:pt>
                <c:pt idx="1">
                  <c:v>318.53</c:v>
                </c:pt>
                <c:pt idx="2">
                  <c:v>348.86</c:v>
                </c:pt>
                <c:pt idx="3">
                  <c:v>347.12</c:v>
                </c:pt>
                <c:pt idx="4">
                  <c:v>330.0</c:v>
                </c:pt>
                <c:pt idx="5">
                  <c:v>339.06</c:v>
                </c:pt>
                <c:pt idx="6">
                  <c:v>330.54</c:v>
                </c:pt>
                <c:pt idx="7">
                  <c:v>329.19</c:v>
                </c:pt>
                <c:pt idx="8">
                  <c:v>91.75</c:v>
                </c:pt>
                <c:pt idx="9">
                  <c:v>359.99</c:v>
                </c:pt>
                <c:pt idx="10">
                  <c:v>417.8</c:v>
                </c:pt>
                <c:pt idx="11">
                  <c:v>358.05</c:v>
                </c:pt>
                <c:pt idx="12">
                  <c:v>325.31</c:v>
                </c:pt>
                <c:pt idx="13">
                  <c:v>159.67</c:v>
                </c:pt>
                <c:pt idx="14">
                  <c:v>277.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70.09</a:t>
                    </a:r>
                  </a:p>
                </c:rich>
              </c:tx>
              <c:dLblPos val="t"/>
              <c:showLegendKey val="0"/>
              <c:showVal val="1"/>
              <c:showCatName val="0"/>
              <c:showSerName val="0"/>
              <c:showPercent val="0"/>
              <c:showBubbleSize val="0"/>
            </c:dLbl>
            <c:dLbl>
              <c:idx val="2"/>
              <c:tx>
                <c:rich>
                  <a:bodyPr/>
                  <a:lstStyle/>
                  <a:p>
                    <a:r>
                      <a:t>96.8</a:t>
                    </a:r>
                  </a:p>
                </c:rich>
              </c:tx>
              <c:dLblPos val="t"/>
              <c:showLegendKey val="0"/>
              <c:showVal val="1"/>
              <c:showCatName val="0"/>
              <c:showSerName val="0"/>
              <c:showPercent val="0"/>
              <c:showBubbleSize val="0"/>
            </c:dLbl>
            <c:dLbl>
              <c:idx val="3"/>
              <c:tx>
                <c:rich>
                  <a:bodyPr/>
                  <a:lstStyle/>
                  <a:p>
                    <a:r>
                      <a:t>234.59</a:t>
                    </a:r>
                  </a:p>
                </c:rich>
              </c:tx>
              <c:dLblPos val="t"/>
              <c:showLegendKey val="0"/>
              <c:showVal val="1"/>
              <c:showCatName val="0"/>
              <c:showSerName val="0"/>
              <c:showPercent val="0"/>
              <c:showBubbleSize val="0"/>
            </c:dLbl>
            <c:dLbl>
              <c:idx val="4"/>
              <c:tx>
                <c:rich>
                  <a:bodyPr/>
                  <a:lstStyle/>
                  <a:p>
                    <a:r>
                      <a:t>220.0</a:t>
                    </a:r>
                  </a:p>
                </c:rich>
              </c:tx>
              <c:dLblPos val="t"/>
              <c:showLegendKey val="0"/>
              <c:showVal val="1"/>
              <c:showCatName val="0"/>
              <c:showSerName val="0"/>
              <c:showPercent val="0"/>
              <c:showBubbleSize val="0"/>
            </c:dLbl>
            <c:dLbl>
              <c:idx val="5"/>
              <c:tx>
                <c:rich>
                  <a:bodyPr/>
                  <a:lstStyle/>
                  <a:p>
                    <a:r>
                      <a:t>205.93</a:t>
                    </a:r>
                  </a:p>
                </c:rich>
              </c:tx>
              <c:dLblPos val="t"/>
              <c:showLegendKey val="0"/>
              <c:showVal val="1"/>
              <c:showCatName val="0"/>
              <c:showSerName val="0"/>
              <c:showPercent val="0"/>
              <c:showBubbleSize val="0"/>
            </c:dLbl>
            <c:dLbl>
              <c:idx val="6"/>
              <c:tx>
                <c:rich>
                  <a:bodyPr/>
                  <a:lstStyle/>
                  <a:p>
                    <a:r>
                      <a:t>258.0</a:t>
                    </a:r>
                  </a:p>
                </c:rich>
              </c:tx>
              <c:dLblPos val="t"/>
              <c:showLegendKey val="0"/>
              <c:showVal val="1"/>
              <c:showCatName val="0"/>
              <c:showSerName val="0"/>
              <c:showPercent val="0"/>
              <c:showBubbleSize val="0"/>
            </c:dLbl>
            <c:dLbl>
              <c:idx val="7"/>
              <c:tx>
                <c:rich>
                  <a:bodyPr/>
                  <a:lstStyle/>
                  <a:p>
                    <a:r>
                      <a:t>133.0</a:t>
                    </a:r>
                  </a:p>
                </c:rich>
              </c:tx>
              <c:dLblPos val="t"/>
              <c:showLegendKey val="0"/>
              <c:showVal val="1"/>
              <c:showCatName val="0"/>
              <c:showSerName val="0"/>
              <c:showPercent val="0"/>
              <c:showBubbleSize val="0"/>
            </c:dLbl>
            <c:dLbl>
              <c:idx val="8"/>
              <c:tx>
                <c:rich>
                  <a:bodyPr/>
                  <a:lstStyle/>
                  <a:p>
                    <a:r>
                      <a:t>12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Edgewell Banana Boat Banded Pack Banded Pack 2X Sunscreen Multi 50+ 170Ml</c:v>
                </c:pt>
                <c:pt idx="6">
                  <c:v>Edgewell Hawaiian Tropic Baby Sunscreen Baby Cosmetics Crema 50+ 240Ml</c:v>
                </c:pt>
                <c:pt idx="7">
                  <c:v>Edgewell Hawaiian Tropic Sheer Touch Sunscreen Adults Cosmetics Liquido 30 - 49 60Ml</c:v>
                </c:pt>
                <c:pt idx="8">
                  <c:v>Edgewell Banana Boat Gentle Protect Sunscreen Adults Cosmetics Locion 50 180Ml</c:v>
                </c:pt>
              </c:strCache>
            </c:strRef>
          </c:cat>
          <c:val>
            <c:numRef>
              <c:f>Sheet1!$B$2:$B$10</c:f>
              <c:numCache>
                <c:formatCode>General</c:formatCode>
                <c:ptCount val="9"/>
                <c:pt idx="0">
                  <c:v>240.0</c:v>
                </c:pt>
                <c:pt idx="1">
                  <c:v>70.09</c:v>
                </c:pt>
                <c:pt idx="2">
                  <c:v>96.8</c:v>
                </c:pt>
                <c:pt idx="3">
                  <c:v>234.59</c:v>
                </c:pt>
                <c:pt idx="4">
                  <c:v>220.0</c:v>
                </c:pt>
                <c:pt idx="5">
                  <c:v>205.93</c:v>
                </c:pt>
                <c:pt idx="6">
                  <c:v>258.0</c:v>
                </c:pt>
                <c:pt idx="7">
                  <c:v>133.0</c:v>
                </c:pt>
                <c:pt idx="8">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281.61</a:t>
                    </a:r>
                  </a:p>
                </c:rich>
              </c:tx>
              <c:dLblPos val="t"/>
              <c:showLegendKey val="0"/>
              <c:showVal val="1"/>
              <c:showCatName val="0"/>
              <c:showSerName val="0"/>
              <c:showPercent val="0"/>
              <c:showBubbleSize val="0"/>
            </c:dLbl>
            <c:dLbl>
              <c:idx val="4"/>
              <c:tx>
                <c:rich>
                  <a:bodyPr/>
                  <a:lstStyle/>
                  <a:p>
                    <a:r>
                      <a:t>326.59</a:t>
                    </a:r>
                  </a:p>
                </c:rich>
              </c:tx>
              <c:dLblPos val="t"/>
              <c:showLegendKey val="0"/>
              <c:showVal val="1"/>
              <c:showCatName val="0"/>
              <c:showSerName val="0"/>
              <c:showPercent val="0"/>
              <c:showBubbleSize val="0"/>
            </c:dLbl>
            <c:dLbl>
              <c:idx val="5"/>
              <c:tx>
                <c:rich>
                  <a:bodyPr/>
                  <a:lstStyle/>
                  <a:p>
                    <a:r>
                      <a:t>290.34</a:t>
                    </a:r>
                  </a:p>
                </c:rich>
              </c:tx>
              <c:dLblPos val="t"/>
              <c:showLegendKey val="0"/>
              <c:showVal val="1"/>
              <c:showCatName val="0"/>
              <c:showSerName val="0"/>
              <c:showPercent val="0"/>
              <c:showBubbleSize val="0"/>
            </c:dLbl>
            <c:dLbl>
              <c:idx val="6"/>
              <c:tx>
                <c:rich>
                  <a:bodyPr/>
                  <a:lstStyle/>
                  <a:p>
                    <a:r>
                      <a:t>268.26</a:t>
                    </a:r>
                  </a:p>
                </c:rich>
              </c:tx>
              <c:dLblPos val="t"/>
              <c:showLegendKey val="0"/>
              <c:showVal val="1"/>
              <c:showCatName val="0"/>
              <c:showSerName val="0"/>
              <c:showPercent val="0"/>
              <c:showBubbleSize val="0"/>
            </c:dLbl>
            <c:dLbl>
              <c:idx val="7"/>
              <c:tx>
                <c:rich>
                  <a:bodyPr/>
                  <a:lstStyle/>
                  <a:p>
                    <a:r>
                      <a:t>189.54</a:t>
                    </a:r>
                  </a:p>
                </c:rich>
              </c:tx>
              <c:dLblPos val="t"/>
              <c:showLegendKey val="0"/>
              <c:showVal val="1"/>
              <c:showCatName val="0"/>
              <c:showSerName val="0"/>
              <c:showPercent val="0"/>
              <c:showBubbleSize val="0"/>
            </c:dLbl>
            <c:dLbl>
              <c:idx val="8"/>
              <c:tx>
                <c:rich>
                  <a:bodyPr/>
                  <a:lstStyle/>
                  <a:p>
                    <a:r>
                      <a:t>311.93</a:t>
                    </a:r>
                  </a:p>
                </c:rich>
              </c:tx>
              <c:dLblPos val="t"/>
              <c:showLegendKey val="0"/>
              <c:showVal val="1"/>
              <c:showCatName val="0"/>
              <c:showSerName val="0"/>
              <c:showPercent val="0"/>
              <c:showBubbleSize val="0"/>
            </c:dLbl>
            <c:dLbl>
              <c:idx val="9"/>
              <c:tx>
                <c:rich>
                  <a:bodyPr/>
                  <a:lstStyle/>
                  <a:p>
                    <a:r>
                      <a:t>101.15</a:t>
                    </a:r>
                  </a:p>
                </c:rich>
              </c:tx>
              <c:dLblPos val="t"/>
              <c:showLegendKey val="0"/>
              <c:showVal val="1"/>
              <c:showCatName val="0"/>
              <c:showSerName val="0"/>
              <c:showPercent val="0"/>
              <c:showBubbleSize val="0"/>
            </c:dLbl>
            <c:dLbl>
              <c:idx val="10"/>
              <c:tx>
                <c:rich>
                  <a:bodyPr/>
                  <a:lstStyle/>
                  <a:p>
                    <a:r>
                      <a:t>330.69</a:t>
                    </a:r>
                  </a:p>
                </c:rich>
              </c:tx>
              <c:dLblPos val="t"/>
              <c:showLegendKey val="0"/>
              <c:showVal val="1"/>
              <c:showCatName val="0"/>
              <c:showSerName val="0"/>
              <c:showPercent val="0"/>
              <c:showBubbleSize val="0"/>
            </c:dLbl>
            <c:dLbl>
              <c:idx val="11"/>
              <c:tx>
                <c:rich>
                  <a:bodyPr/>
                  <a:lstStyle/>
                  <a:p>
                    <a:r>
                      <a:t>298.88</a:t>
                    </a:r>
                  </a:p>
                </c:rich>
              </c:tx>
              <c:dLblPos val="t"/>
              <c:showLegendKey val="0"/>
              <c:showVal val="1"/>
              <c:showCatName val="0"/>
              <c:showSerName val="0"/>
              <c:showPercent val="0"/>
              <c:showBubbleSize val="0"/>
            </c:dLbl>
            <c:dLbl>
              <c:idx val="12"/>
              <c:tx>
                <c:rich>
                  <a:bodyPr/>
                  <a:lstStyle/>
                  <a:p>
                    <a:r>
                      <a:t>300.48</a:t>
                    </a:r>
                  </a:p>
                </c:rich>
              </c:tx>
              <c:dLblPos val="t"/>
              <c:showLegendKey val="0"/>
              <c:showVal val="1"/>
              <c:showCatName val="0"/>
              <c:showSerName val="0"/>
              <c:showPercent val="0"/>
              <c:showBubbleSize val="0"/>
            </c:dLbl>
            <c:dLbl>
              <c:idx val="13"/>
              <c:tx>
                <c:rich>
                  <a:bodyPr/>
                  <a:lstStyle/>
                  <a:p>
                    <a:r>
                      <a:t>312.87</a:t>
                    </a:r>
                  </a:p>
                </c:rich>
              </c:tx>
              <c:dLblPos val="t"/>
              <c:showLegendKey val="0"/>
              <c:showVal val="1"/>
              <c:showCatName val="0"/>
              <c:showSerName val="0"/>
              <c:showPercent val="0"/>
              <c:showBubbleSize val="0"/>
            </c:dLbl>
            <c:dLbl>
              <c:idx val="14"/>
              <c:tx>
                <c:rich>
                  <a:bodyPr/>
                  <a:lstStyle/>
                  <a:p>
                    <a:r>
                      <a:t>324.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Sheer Touch Sunscreen Adults Cosmetics Crema 50 120Ml</c:v>
                </c:pt>
                <c:pt idx="8">
                  <c:v>Edgewell Banana Boat Dry Balance Sunscreen Adults Sport Spray Liquido 50 220Ml</c:v>
                </c:pt>
                <c:pt idx="9">
                  <c:v>Edgewell Hawaiian Tropic Ozono Sunscreen Adults Cosmetics Liquido 50+ 90Ml</c:v>
                </c:pt>
                <c:pt idx="10">
                  <c:v>Edgewell Hawaiian Tropic Ozono Sunscreen Adults Cosmetics Spray Liquido 50+ 180Ml</c:v>
                </c:pt>
                <c:pt idx="11">
                  <c:v>Edgewell Banana Boat Advanced Protection Sunscreen Adults Cosmetics Liquido 50+ 240Ml</c:v>
                </c:pt>
                <c:pt idx="12">
                  <c:v>Edgewell Hawaiian Tropic Sheer Touch Sunscreen Adults Cosmetics Crema 30 - 49 240Ml</c:v>
                </c:pt>
                <c:pt idx="13">
                  <c:v>Edgewell Banana Boat Aqua Protect Sunscreen Adults Cosmetics Spray Liquido 50+ 170Ml</c:v>
                </c:pt>
                <c:pt idx="14">
                  <c:v>Edgewell Hawaiian Tropic Island Sport Sunscreen Adults Sport Spray Liquido 50 220Ml</c:v>
                </c:pt>
              </c:strCache>
            </c:strRef>
          </c:cat>
          <c:val>
            <c:numRef>
              <c:f>Sheet1!$B$2:$B$16</c:f>
              <c:numCache>
                <c:formatCode>General</c:formatCode>
                <c:ptCount val="15"/>
                <c:pt idx="0">
                  <c:v>305.12</c:v>
                </c:pt>
                <c:pt idx="1">
                  <c:v>312.14</c:v>
                </c:pt>
                <c:pt idx="2">
                  <c:v>305.29</c:v>
                </c:pt>
                <c:pt idx="3">
                  <c:v>281.61</c:v>
                </c:pt>
                <c:pt idx="4">
                  <c:v>326.59</c:v>
                </c:pt>
                <c:pt idx="5">
                  <c:v>290.34</c:v>
                </c:pt>
                <c:pt idx="6">
                  <c:v>268.26</c:v>
                </c:pt>
                <c:pt idx="7">
                  <c:v>189.54</c:v>
                </c:pt>
                <c:pt idx="8">
                  <c:v>311.93</c:v>
                </c:pt>
                <c:pt idx="9">
                  <c:v>101.15</c:v>
                </c:pt>
                <c:pt idx="10">
                  <c:v>330.69</c:v>
                </c:pt>
                <c:pt idx="11">
                  <c:v>298.88</c:v>
                </c:pt>
                <c:pt idx="12">
                  <c:v>300.48</c:v>
                </c:pt>
                <c:pt idx="13">
                  <c:v>312.87</c:v>
                </c:pt>
                <c:pt idx="14">
                  <c:v>32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72</a:t>
                    </a:r>
                  </a:p>
                </c:rich>
              </c:tx>
              <c:dLblPos val="t"/>
              <c:showLegendKey val="0"/>
              <c:showVal val="1"/>
              <c:showCatName val="0"/>
              <c:showSerName val="0"/>
              <c:showPercent val="0"/>
              <c:showBubbleSize val="0"/>
            </c:dLbl>
            <c:dLbl>
              <c:idx val="1"/>
              <c:tx>
                <c:rich>
                  <a:bodyPr/>
                  <a:lstStyle/>
                  <a:p>
                    <a:r>
                      <a:t>286.89</a:t>
                    </a:r>
                  </a:p>
                </c:rich>
              </c:tx>
              <c:dLblPos val="t"/>
              <c:showLegendKey val="0"/>
              <c:showVal val="1"/>
              <c:showCatName val="0"/>
              <c:showSerName val="0"/>
              <c:showPercent val="0"/>
              <c:showBubbleSize val="0"/>
            </c:dLbl>
            <c:dLbl>
              <c:idx val="2"/>
              <c:tx>
                <c:rich>
                  <a:bodyPr/>
                  <a:lstStyle/>
                  <a:p>
                    <a:r>
                      <a:t>278.07</a:t>
                    </a:r>
                  </a:p>
                </c:rich>
              </c:tx>
              <c:dLblPos val="t"/>
              <c:showLegendKey val="0"/>
              <c:showVal val="1"/>
              <c:showCatName val="0"/>
              <c:showSerName val="0"/>
              <c:showPercent val="0"/>
              <c:showBubbleSize val="0"/>
            </c:dLbl>
            <c:dLbl>
              <c:idx val="3"/>
              <c:tx>
                <c:rich>
                  <a:bodyPr/>
                  <a:lstStyle/>
                  <a:p>
                    <a:r>
                      <a:t>286.0</a:t>
                    </a:r>
                  </a:p>
                </c:rich>
              </c:tx>
              <c:dLblPos val="t"/>
              <c:showLegendKey val="0"/>
              <c:showVal val="1"/>
              <c:showCatName val="0"/>
              <c:showSerName val="0"/>
              <c:showPercent val="0"/>
              <c:showBubbleSize val="0"/>
            </c:dLbl>
            <c:dLbl>
              <c:idx val="4"/>
              <c:tx>
                <c:rich>
                  <a:bodyPr/>
                  <a:lstStyle/>
                  <a:p>
                    <a:r>
                      <a:t>309.4</a:t>
                    </a:r>
                  </a:p>
                </c:rich>
              </c:tx>
              <c:dLblPos val="t"/>
              <c:showLegendKey val="0"/>
              <c:showVal val="1"/>
              <c:showCatName val="0"/>
              <c:showSerName val="0"/>
              <c:showPercent val="0"/>
              <c:showBubbleSize val="0"/>
            </c:dLbl>
            <c:dLbl>
              <c:idx val="5"/>
              <c:tx>
                <c:rich>
                  <a:bodyPr/>
                  <a:lstStyle/>
                  <a:p>
                    <a:r>
                      <a:t>268.09</a:t>
                    </a:r>
                  </a:p>
                </c:rich>
              </c:tx>
              <c:dLblPos val="t"/>
              <c:showLegendKey val="0"/>
              <c:showVal val="1"/>
              <c:showCatName val="0"/>
              <c:showSerName val="0"/>
              <c:showPercent val="0"/>
              <c:showBubbleSize val="0"/>
            </c:dLbl>
            <c:dLbl>
              <c:idx val="6"/>
              <c:tx>
                <c:rich>
                  <a:bodyPr/>
                  <a:lstStyle/>
                  <a:p>
                    <a:r>
                      <a:t>308.6</a:t>
                    </a:r>
                  </a:p>
                </c:rich>
              </c:tx>
              <c:dLblPos val="t"/>
              <c:showLegendKey val="0"/>
              <c:showVal val="1"/>
              <c:showCatName val="0"/>
              <c:showSerName val="0"/>
              <c:showPercent val="0"/>
              <c:showBubbleSize val="0"/>
            </c:dLbl>
            <c:dLbl>
              <c:idx val="7"/>
              <c:tx>
                <c:rich>
                  <a:bodyPr/>
                  <a:lstStyle/>
                  <a:p>
                    <a:r>
                      <a:t>305.0</a:t>
                    </a:r>
                  </a:p>
                </c:rich>
              </c:tx>
              <c:dLblPos val="t"/>
              <c:showLegendKey val="0"/>
              <c:showVal val="1"/>
              <c:showCatName val="0"/>
              <c:showSerName val="0"/>
              <c:showPercent val="0"/>
              <c:showBubbleSize val="0"/>
            </c:dLbl>
            <c:dLbl>
              <c:idx val="8"/>
              <c:tx>
                <c:rich>
                  <a:bodyPr/>
                  <a:lstStyle/>
                  <a:p>
                    <a:r>
                      <a:t>312.34</a:t>
                    </a:r>
                  </a:p>
                </c:rich>
              </c:tx>
              <c:dLblPos val="t"/>
              <c:showLegendKey val="0"/>
              <c:showVal val="1"/>
              <c:showCatName val="0"/>
              <c:showSerName val="0"/>
              <c:showPercent val="0"/>
              <c:showBubbleSize val="0"/>
            </c:dLbl>
            <c:dLbl>
              <c:idx val="9"/>
              <c:tx>
                <c:rich>
                  <a:bodyPr/>
                  <a:lstStyle/>
                  <a:p>
                    <a:r>
                      <a:t>281.45</a:t>
                    </a:r>
                  </a:p>
                </c:rich>
              </c:tx>
              <c:dLblPos val="t"/>
              <c:showLegendKey val="0"/>
              <c:showVal val="1"/>
              <c:showCatName val="0"/>
              <c:showSerName val="0"/>
              <c:showPercent val="0"/>
              <c:showBubbleSize val="0"/>
            </c:dLbl>
            <c:dLbl>
              <c:idx val="10"/>
              <c:tx>
                <c:rich>
                  <a:bodyPr/>
                  <a:lstStyle/>
                  <a:p>
                    <a:r>
                      <a:t>254.7</a:t>
                    </a:r>
                  </a:p>
                </c:rich>
              </c:tx>
              <c:dLblPos val="t"/>
              <c:showLegendKey val="0"/>
              <c:showVal val="1"/>
              <c:showCatName val="0"/>
              <c:showSerName val="0"/>
              <c:showPercent val="0"/>
              <c:showBubbleSize val="0"/>
            </c:dLbl>
            <c:dLbl>
              <c:idx val="11"/>
              <c:tx>
                <c:rich>
                  <a:bodyPr/>
                  <a:lstStyle/>
                  <a:p>
                    <a:r>
                      <a:t>294.17</a:t>
                    </a:r>
                  </a:p>
                </c:rich>
              </c:tx>
              <c:dLblPos val="t"/>
              <c:showLegendKey val="0"/>
              <c:showVal val="1"/>
              <c:showCatName val="0"/>
              <c:showSerName val="0"/>
              <c:showPercent val="0"/>
              <c:showBubbleSize val="0"/>
            </c:dLbl>
            <c:dLbl>
              <c:idx val="12"/>
              <c:tx>
                <c:rich>
                  <a:bodyPr/>
                  <a:lstStyle/>
                  <a:p>
                    <a:r>
                      <a:t>104.39</a:t>
                    </a:r>
                  </a:p>
                </c:rich>
              </c:tx>
              <c:dLblPos val="t"/>
              <c:showLegendKey val="0"/>
              <c:showVal val="1"/>
              <c:showCatName val="0"/>
              <c:showSerName val="0"/>
              <c:showPercent val="0"/>
              <c:showBubbleSize val="0"/>
            </c:dLbl>
            <c:dLbl>
              <c:idx val="13"/>
              <c:tx>
                <c:rich>
                  <a:bodyPr/>
                  <a:lstStyle/>
                  <a:p>
                    <a:r>
                      <a:t>147.65</a:t>
                    </a:r>
                  </a:p>
                </c:rich>
              </c:tx>
              <c:dLblPos val="t"/>
              <c:showLegendKey val="0"/>
              <c:showVal val="1"/>
              <c:showCatName val="0"/>
              <c:showSerName val="0"/>
              <c:showPercent val="0"/>
              <c:showBubbleSize val="0"/>
            </c:dLbl>
            <c:dLbl>
              <c:idx val="14"/>
              <c:tx>
                <c:rich>
                  <a:bodyPr/>
                  <a:lstStyle/>
                  <a:p>
                    <a:r>
                      <a:t>278.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Aqua Protect Sunscreen Adults Cosmetics Spray Liquido 50+ 170Ml</c:v>
                </c:pt>
                <c:pt idx="7">
                  <c:v>Edgewell Banana Boat Dry Balance Sunscreen Adults Sport Spray Liquido 50 220Ml</c:v>
                </c:pt>
                <c:pt idx="8">
                  <c:v>Edgewell Hawaiian Tropic Island Sport Sunscreen Adults Sport Spray Liquido 50 220Ml</c:v>
                </c:pt>
                <c:pt idx="9">
                  <c:v>Edgewell Banana Boat Advanced Protection Sunscreen Adults Cosmetics Liquido 50+ 240Ml</c:v>
                </c:pt>
                <c:pt idx="10">
                  <c:v>Edgewell Banana Boat Banded Pack Banded Pack 2X Sunscreen Multi 50+ 236Ml</c:v>
                </c:pt>
                <c:pt idx="11">
                  <c:v>Edgewell Hawaiian Tropic Ozono Sunscreen Adults Cosmetics Spray Liquido 50+ 180Ml</c:v>
                </c:pt>
                <c:pt idx="12">
                  <c:v>Edgewell Hawaiian Tropic Ozono Sunscreen Adults Cosmetics Liquido 50+ 9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89.72</c:v>
                </c:pt>
                <c:pt idx="1">
                  <c:v>286.89</c:v>
                </c:pt>
                <c:pt idx="2">
                  <c:v>278.07</c:v>
                </c:pt>
                <c:pt idx="3">
                  <c:v>286.0</c:v>
                </c:pt>
                <c:pt idx="4">
                  <c:v>309.4</c:v>
                </c:pt>
                <c:pt idx="5">
                  <c:v>268.09</c:v>
                </c:pt>
                <c:pt idx="6">
                  <c:v>308.6</c:v>
                </c:pt>
                <c:pt idx="7">
                  <c:v>305.0</c:v>
                </c:pt>
                <c:pt idx="8">
                  <c:v>312.34</c:v>
                </c:pt>
                <c:pt idx="9">
                  <c:v>281.45</c:v>
                </c:pt>
                <c:pt idx="10">
                  <c:v>254.7</c:v>
                </c:pt>
                <c:pt idx="11">
                  <c:v>294.17</c:v>
                </c:pt>
                <c:pt idx="12">
                  <c:v>104.39</c:v>
                </c:pt>
                <c:pt idx="13">
                  <c:v>147.65</c:v>
                </c:pt>
                <c:pt idx="14">
                  <c:v>278.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5.5</a:t>
                    </a:r>
                  </a:p>
                </c:rich>
              </c:tx>
              <c:dLblPos val="t"/>
              <c:showLegendKey val="0"/>
              <c:showVal val="1"/>
              <c:showCatName val="0"/>
              <c:showSerName val="0"/>
              <c:showPercent val="0"/>
              <c:showBubbleSize val="0"/>
            </c:dLbl>
            <c:dLbl>
              <c:idx val="2"/>
              <c:tx>
                <c:rich>
                  <a:bodyPr/>
                  <a:lstStyle/>
                  <a:p>
                    <a:r>
                      <a:t>286.35</a:t>
                    </a:r>
                  </a:p>
                </c:rich>
              </c:tx>
              <c:dLblPos val="t"/>
              <c:showLegendKey val="0"/>
              <c:showVal val="1"/>
              <c:showCatName val="0"/>
              <c:showSerName val="0"/>
              <c:showPercent val="0"/>
              <c:showBubbleSize val="0"/>
            </c:dLbl>
            <c:dLbl>
              <c:idx val="3"/>
              <c:tx>
                <c:rich>
                  <a:bodyPr/>
                  <a:lstStyle/>
                  <a:p>
                    <a:r>
                      <a:t>292.61</a:t>
                    </a:r>
                  </a:p>
                </c:rich>
              </c:tx>
              <c:dLblPos val="t"/>
              <c:showLegendKey val="0"/>
              <c:showVal val="1"/>
              <c:showCatName val="0"/>
              <c:showSerName val="0"/>
              <c:showPercent val="0"/>
              <c:showBubbleSize val="0"/>
            </c:dLbl>
            <c:dLbl>
              <c:idx val="4"/>
              <c:tx>
                <c:rich>
                  <a:bodyPr/>
                  <a:lstStyle/>
                  <a:p>
                    <a:r>
                      <a:t>320.31</a:t>
                    </a:r>
                  </a:p>
                </c:rich>
              </c:tx>
              <c:dLblPos val="t"/>
              <c:showLegendKey val="0"/>
              <c:showVal val="1"/>
              <c:showCatName val="0"/>
              <c:showSerName val="0"/>
              <c:showPercent val="0"/>
              <c:showBubbleSize val="0"/>
            </c:dLbl>
            <c:dLbl>
              <c:idx val="5"/>
              <c:tx>
                <c:rich>
                  <a:bodyPr/>
                  <a:lstStyle/>
                  <a:p>
                    <a:r>
                      <a:t>274.64</a:t>
                    </a:r>
                  </a:p>
                </c:rich>
              </c:tx>
              <c:dLblPos val="t"/>
              <c:showLegendKey val="0"/>
              <c:showVal val="1"/>
              <c:showCatName val="0"/>
              <c:showSerName val="0"/>
              <c:showPercent val="0"/>
              <c:showBubbleSize val="0"/>
            </c:dLbl>
            <c:dLbl>
              <c:idx val="6"/>
              <c:tx>
                <c:rich>
                  <a:bodyPr/>
                  <a:lstStyle/>
                  <a:p>
                    <a:r>
                      <a:t>312.46</a:t>
                    </a:r>
                  </a:p>
                </c:rich>
              </c:tx>
              <c:dLblPos val="t"/>
              <c:showLegendKey val="0"/>
              <c:showVal val="1"/>
              <c:showCatName val="0"/>
              <c:showSerName val="0"/>
              <c:showPercent val="0"/>
              <c:showBubbleSize val="0"/>
            </c:dLbl>
            <c:dLbl>
              <c:idx val="7"/>
              <c:tx>
                <c:rich>
                  <a:bodyPr/>
                  <a:lstStyle/>
                  <a:p>
                    <a:r>
                      <a:t>314.98</a:t>
                    </a:r>
                  </a:p>
                </c:rich>
              </c:tx>
              <c:dLblPos val="t"/>
              <c:showLegendKey val="0"/>
              <c:showVal val="1"/>
              <c:showCatName val="0"/>
              <c:showSerName val="0"/>
              <c:showPercent val="0"/>
              <c:showBubbleSize val="0"/>
            </c:dLbl>
            <c:dLbl>
              <c:idx val="8"/>
              <c:tx>
                <c:rich>
                  <a:bodyPr/>
                  <a:lstStyle/>
                  <a:p>
                    <a:r>
                      <a:t>323.42</a:t>
                    </a:r>
                  </a:p>
                </c:rich>
              </c:tx>
              <c:dLblPos val="t"/>
              <c:showLegendKey val="0"/>
              <c:showVal val="1"/>
              <c:showCatName val="0"/>
              <c:showSerName val="0"/>
              <c:showPercent val="0"/>
              <c:showBubbleSize val="0"/>
            </c:dLbl>
            <c:dLbl>
              <c:idx val="9"/>
              <c:tx>
                <c:rich>
                  <a:bodyPr/>
                  <a:lstStyle/>
                  <a:p>
                    <a:r>
                      <a:t>286.78</a:t>
                    </a:r>
                  </a:p>
                </c:rich>
              </c:tx>
              <c:dLblPos val="t"/>
              <c:showLegendKey val="0"/>
              <c:showVal val="1"/>
              <c:showCatName val="0"/>
              <c:showSerName val="0"/>
              <c:showPercent val="0"/>
              <c:showBubbleSize val="0"/>
            </c:dLbl>
            <c:dLbl>
              <c:idx val="10"/>
              <c:tx>
                <c:rich>
                  <a:bodyPr/>
                  <a:lstStyle/>
                  <a:p>
                    <a:r>
                      <a:t>266.74</a:t>
                    </a:r>
                  </a:p>
                </c:rich>
              </c:tx>
              <c:dLblPos val="t"/>
              <c:showLegendKey val="0"/>
              <c:showVal val="1"/>
              <c:showCatName val="0"/>
              <c:showSerName val="0"/>
              <c:showPercent val="0"/>
              <c:showBubbleSize val="0"/>
            </c:dLbl>
            <c:dLbl>
              <c:idx val="11"/>
              <c:tx>
                <c:rich>
                  <a:bodyPr/>
                  <a:lstStyle/>
                  <a:p>
                    <a:r>
                      <a:t>309.18</a:t>
                    </a:r>
                  </a:p>
                </c:rich>
              </c:tx>
              <c:dLblPos val="t"/>
              <c:showLegendKey val="0"/>
              <c:showVal val="1"/>
              <c:showCatName val="0"/>
              <c:showSerName val="0"/>
              <c:showPercent val="0"/>
              <c:showBubbleSize val="0"/>
            </c:dLbl>
            <c:dLbl>
              <c:idx val="12"/>
              <c:tx>
                <c:rich>
                  <a:bodyPr/>
                  <a:lstStyle/>
                  <a:p>
                    <a:r>
                      <a:t>105.11</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79.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Aqua Protect Sunscreen Adults Cosmetics Spray Liquido 50+ 170Ml</c:v>
                </c:pt>
                <c:pt idx="7">
                  <c:v>Edgewell Banana Boat Dry Balance Sunscreen Adults Sport Spray Liquido 50 220Ml</c:v>
                </c:pt>
                <c:pt idx="8">
                  <c:v>Edgewell Hawaiian Tropic Island Sport Sunscreen Adults Sport Spray Liquido 50 220Ml</c:v>
                </c:pt>
                <c:pt idx="9">
                  <c:v>Edgewell Banana Boat Advanced Protection Sunscreen Adults Cosmetics Liquido 50+ 240Ml</c:v>
                </c:pt>
                <c:pt idx="10">
                  <c:v>Edgewell Banana Boat Banded Pack Banded Pack 2X Sunscreen Multi 50+ 236Ml</c:v>
                </c:pt>
                <c:pt idx="11">
                  <c:v>Edgewell Hawaiian Tropic Ozono Sunscreen Adults Cosmetics Spray Liquido 50+ 180Ml</c:v>
                </c:pt>
                <c:pt idx="12">
                  <c:v>Edgewell Hawaiian Tropic Ozono Sunscreen Adults Cosmetics Liquido 50+ 9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91.91</c:v>
                </c:pt>
                <c:pt idx="1">
                  <c:v>295.5</c:v>
                </c:pt>
                <c:pt idx="2">
                  <c:v>286.35</c:v>
                </c:pt>
                <c:pt idx="3">
                  <c:v>292.61</c:v>
                </c:pt>
                <c:pt idx="4">
                  <c:v>320.31</c:v>
                </c:pt>
                <c:pt idx="5">
                  <c:v>274.64</c:v>
                </c:pt>
                <c:pt idx="6">
                  <c:v>312.46</c:v>
                </c:pt>
                <c:pt idx="7">
                  <c:v>314.98</c:v>
                </c:pt>
                <c:pt idx="8">
                  <c:v>323.42</c:v>
                </c:pt>
                <c:pt idx="9">
                  <c:v>286.78</c:v>
                </c:pt>
                <c:pt idx="10">
                  <c:v>266.74</c:v>
                </c:pt>
                <c:pt idx="11">
                  <c:v>309.18</c:v>
                </c:pt>
                <c:pt idx="12">
                  <c:v>105.11</c:v>
                </c:pt>
                <c:pt idx="13">
                  <c:v>148.93</c:v>
                </c:pt>
                <c:pt idx="14">
                  <c:v>279.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3</a:t>
                    </a:r>
                  </a:p>
                </c:rich>
              </c:tx>
              <c:dLblPos val="t"/>
              <c:showLegendKey val="0"/>
              <c:showVal val="1"/>
              <c:showCatName val="0"/>
              <c:showSerName val="0"/>
              <c:showPercent val="0"/>
              <c:showBubbleSize val="0"/>
            </c:dLbl>
            <c:dLbl>
              <c:idx val="1"/>
              <c:tx>
                <c:rich>
                  <a:bodyPr/>
                  <a:lstStyle/>
                  <a:p>
                    <a:r>
                      <a:t>308.98</a:t>
                    </a:r>
                  </a:p>
                </c:rich>
              </c:tx>
              <c:dLblPos val="t"/>
              <c:showLegendKey val="0"/>
              <c:showVal val="1"/>
              <c:showCatName val="0"/>
              <c:showSerName val="0"/>
              <c:showPercent val="0"/>
              <c:showBubbleSize val="0"/>
            </c:dLbl>
            <c:dLbl>
              <c:idx val="2"/>
              <c:tx>
                <c:rich>
                  <a:bodyPr/>
                  <a:lstStyle/>
                  <a:p>
                    <a:r>
                      <a:t>337.37</a:t>
                    </a:r>
                  </a:p>
                </c:rich>
              </c:tx>
              <c:dLblPos val="t"/>
              <c:showLegendKey val="0"/>
              <c:showVal val="1"/>
              <c:showCatName val="0"/>
              <c:showSerName val="0"/>
              <c:showPercent val="0"/>
              <c:showBubbleSize val="0"/>
            </c:dLbl>
            <c:dLbl>
              <c:idx val="3"/>
              <c:tx>
                <c:rich>
                  <a:bodyPr/>
                  <a:lstStyle/>
                  <a:p>
                    <a:r>
                      <a:t>327.71</a:t>
                    </a:r>
                  </a:p>
                </c:rich>
              </c:tx>
              <c:dLblPos val="t"/>
              <c:showLegendKey val="0"/>
              <c:showVal val="1"/>
              <c:showCatName val="0"/>
              <c:showSerName val="0"/>
              <c:showPercent val="0"/>
              <c:showBubbleSize val="0"/>
            </c:dLbl>
            <c:dLbl>
              <c:idx val="4"/>
              <c:tx>
                <c:rich>
                  <a:bodyPr/>
                  <a:lstStyle/>
                  <a:p>
                    <a:r>
                      <a:t>338.35</a:t>
                    </a:r>
                  </a:p>
                </c:rich>
              </c:tx>
              <c:dLblPos val="t"/>
              <c:showLegendKey val="0"/>
              <c:showVal val="1"/>
              <c:showCatName val="0"/>
              <c:showSerName val="0"/>
              <c:showPercent val="0"/>
              <c:showBubbleSize val="0"/>
            </c:dLbl>
            <c:dLbl>
              <c:idx val="5"/>
              <c:tx>
                <c:rich>
                  <a:bodyPr/>
                  <a:lstStyle/>
                  <a:p>
                    <a:r>
                      <a:t>322.45</a:t>
                    </a:r>
                  </a:p>
                </c:rich>
              </c:tx>
              <c:dLblPos val="t"/>
              <c:showLegendKey val="0"/>
              <c:showVal val="1"/>
              <c:showCatName val="0"/>
              <c:showSerName val="0"/>
              <c:showPercent val="0"/>
              <c:showBubbleSize val="0"/>
            </c:dLbl>
            <c:dLbl>
              <c:idx val="6"/>
              <c:tx>
                <c:rich>
                  <a:bodyPr/>
                  <a:lstStyle/>
                  <a:p>
                    <a:r>
                      <a:t>332.96</a:t>
                    </a:r>
                  </a:p>
                </c:rich>
              </c:tx>
              <c:dLblPos val="t"/>
              <c:showLegendKey val="0"/>
              <c:showVal val="1"/>
              <c:showCatName val="0"/>
              <c:showSerName val="0"/>
              <c:showPercent val="0"/>
              <c:showBubbleSize val="0"/>
            </c:dLbl>
            <c:dLbl>
              <c:idx val="7"/>
              <c:tx>
                <c:rich>
                  <a:bodyPr/>
                  <a:lstStyle/>
                  <a:p>
                    <a:r>
                      <a:t>81.09</a:t>
                    </a:r>
                  </a:p>
                </c:rich>
              </c:tx>
              <c:dLblPos val="t"/>
              <c:showLegendKey val="0"/>
              <c:showVal val="1"/>
              <c:showCatName val="0"/>
              <c:showSerName val="0"/>
              <c:showPercent val="0"/>
              <c:showBubbleSize val="0"/>
            </c:dLbl>
            <c:dLbl>
              <c:idx val="8"/>
              <c:tx>
                <c:rich>
                  <a:bodyPr/>
                  <a:lstStyle/>
                  <a:p>
                    <a:r>
                      <a:t>319.96</a:t>
                    </a:r>
                  </a:p>
                </c:rich>
              </c:tx>
              <c:dLblPos val="t"/>
              <c:showLegendKey val="0"/>
              <c:showVal val="1"/>
              <c:showCatName val="0"/>
              <c:showSerName val="0"/>
              <c:showPercent val="0"/>
              <c:showBubbleSize val="0"/>
            </c:dLbl>
            <c:dLbl>
              <c:idx val="9"/>
              <c:tx>
                <c:rich>
                  <a:bodyPr/>
                  <a:lstStyle/>
                  <a:p>
                    <a:r>
                      <a:t>345.53</a:t>
                    </a:r>
                  </a:p>
                </c:rich>
              </c:tx>
              <c:dLblPos val="t"/>
              <c:showLegendKey val="0"/>
              <c:showVal val="1"/>
              <c:showCatName val="0"/>
              <c:showSerName val="0"/>
              <c:showPercent val="0"/>
              <c:showBubbleSize val="0"/>
            </c:dLbl>
            <c:dLbl>
              <c:idx val="10"/>
              <c:tx>
                <c:rich>
                  <a:bodyPr/>
                  <a:lstStyle/>
                  <a:p>
                    <a:r>
                      <a:t>398.73</a:t>
                    </a:r>
                  </a:p>
                </c:rich>
              </c:tx>
              <c:dLblPos val="t"/>
              <c:showLegendKey val="0"/>
              <c:showVal val="1"/>
              <c:showCatName val="0"/>
              <c:showSerName val="0"/>
              <c:showPercent val="0"/>
              <c:showBubbleSize val="0"/>
            </c:dLbl>
            <c:dLbl>
              <c:idx val="11"/>
              <c:tx>
                <c:rich>
                  <a:bodyPr/>
                  <a:lstStyle/>
                  <a:p>
                    <a:r>
                      <a:t>343.91</a:t>
                    </a:r>
                  </a:p>
                </c:rich>
              </c:tx>
              <c:dLblPos val="t"/>
              <c:showLegendKey val="0"/>
              <c:showVal val="1"/>
              <c:showCatName val="0"/>
              <c:showSerName val="0"/>
              <c:showPercent val="0"/>
              <c:showBubbleSize val="0"/>
            </c:dLbl>
            <c:dLbl>
              <c:idx val="12"/>
              <c:tx>
                <c:rich>
                  <a:bodyPr/>
                  <a:lstStyle/>
                  <a:p>
                    <a:r>
                      <a:t>102.13</a:t>
                    </a:r>
                  </a:p>
                </c:rich>
              </c:tx>
              <c:dLblPos val="t"/>
              <c:showLegendKey val="0"/>
              <c:showVal val="1"/>
              <c:showCatName val="0"/>
              <c:showSerName val="0"/>
              <c:showPercent val="0"/>
              <c:showBubbleSize val="0"/>
            </c:dLbl>
            <c:dLbl>
              <c:idx val="13"/>
              <c:tx>
                <c:rich>
                  <a:bodyPr/>
                  <a:lstStyle/>
                  <a:p>
                    <a:r>
                      <a:t>156.76</a:t>
                    </a:r>
                  </a:p>
                </c:rich>
              </c:tx>
              <c:dLblPos val="t"/>
              <c:showLegendKey val="0"/>
              <c:showVal val="1"/>
              <c:showCatName val="0"/>
              <c:showSerName val="0"/>
              <c:showPercent val="0"/>
              <c:showBubbleSize val="0"/>
            </c:dLbl>
            <c:dLbl>
              <c:idx val="14"/>
              <c:tx>
                <c:rich>
                  <a:bodyPr/>
                  <a:lstStyle/>
                  <a:p>
                    <a:r>
                      <a:t>271.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Aqua Protect Sunscreen Adults Cosmetics Spray Liquido 50+ 170Ml</c:v>
                </c:pt>
                <c:pt idx="4">
                  <c:v>Edgewell Hawaiian Tropic Island Sport Sunscreen Adults Sport Spray Liquido 50 220Ml</c:v>
                </c:pt>
                <c:pt idx="5">
                  <c:v>Edgewell Hawaiian Tropic Island Sport Sunscreen Adults Sport Liquido 50 240Ml</c:v>
                </c:pt>
                <c:pt idx="6">
                  <c:v>Edgewell Banana Boat Dry Balance Sunscreen Adults Sport Spray Liquido 50 220Ml</c:v>
                </c:pt>
                <c:pt idx="7">
                  <c:v>Edgewell Banana Boat Advanced Protection Sunscreen Adults Cosmetics Liquido 50+ 60Ml</c:v>
                </c:pt>
                <c:pt idx="8">
                  <c:v>Edgewell Banana Boat Advanced Protection Sunscreen Adults Cosmetics Liquido 50+ 240Ml</c:v>
                </c:pt>
                <c:pt idx="9">
                  <c:v>Edgewell Banana Boat Mineral Sunscreen Kids Cosmetics Locion 50 180Ml</c:v>
                </c:pt>
                <c:pt idx="10">
                  <c:v>Edgewell Banana Boat Banded Pack Banded Pack 2X Sunscreen Multi 50+ 170Ml</c:v>
                </c:pt>
                <c:pt idx="11">
                  <c:v>Edgewell Banana Boat Mineral Sunscreen Adults Sport Locion 50 180Ml</c:v>
                </c:pt>
                <c:pt idx="12">
                  <c:v>Edgewell Banana Boat Dry Balance Sunscreen Adults Sport Locion 50+ 6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3.93</c:v>
                </c:pt>
                <c:pt idx="1">
                  <c:v>308.98</c:v>
                </c:pt>
                <c:pt idx="2">
                  <c:v>337.37</c:v>
                </c:pt>
                <c:pt idx="3">
                  <c:v>327.71</c:v>
                </c:pt>
                <c:pt idx="4">
                  <c:v>338.35</c:v>
                </c:pt>
                <c:pt idx="5">
                  <c:v>322.45</c:v>
                </c:pt>
                <c:pt idx="6">
                  <c:v>332.96</c:v>
                </c:pt>
                <c:pt idx="7">
                  <c:v>81.09</c:v>
                </c:pt>
                <c:pt idx="8">
                  <c:v>319.96</c:v>
                </c:pt>
                <c:pt idx="9">
                  <c:v>345.53</c:v>
                </c:pt>
                <c:pt idx="10">
                  <c:v>398.73</c:v>
                </c:pt>
                <c:pt idx="11">
                  <c:v>343.91</c:v>
                </c:pt>
                <c:pt idx="12">
                  <c:v>102.13</c:v>
                </c:pt>
                <c:pt idx="13">
                  <c:v>156.76</c:v>
                </c:pt>
                <c:pt idx="14">
                  <c:v>27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0.75</a:t>
                    </a:r>
                  </a:p>
                </c:rich>
              </c:tx>
              <c:dLblPos val="t"/>
              <c:showLegendKey val="0"/>
              <c:showVal val="1"/>
              <c:showCatName val="0"/>
              <c:showSerName val="0"/>
              <c:showPercent val="0"/>
              <c:showBubbleSize val="0"/>
            </c:dLbl>
            <c:dLbl>
              <c:idx val="2"/>
              <c:tx>
                <c:rich>
                  <a:bodyPr/>
                  <a:lstStyle/>
                  <a:p>
                    <a:r>
                      <a:t>310.56</a:t>
                    </a:r>
                  </a:p>
                </c:rich>
              </c:tx>
              <c:dLblPos val="t"/>
              <c:showLegendKey val="0"/>
              <c:showVal val="1"/>
              <c:showCatName val="0"/>
              <c:showSerName val="0"/>
              <c:showPercent val="0"/>
              <c:showBubbleSize val="0"/>
            </c:dLbl>
            <c:dLbl>
              <c:idx val="3"/>
              <c:tx>
                <c:rich>
                  <a:bodyPr/>
                  <a:lstStyle/>
                  <a:p>
                    <a:r>
                      <a:t>93.72</a:t>
                    </a:r>
                  </a:p>
                </c:rich>
              </c:tx>
              <c:dLblPos val="t"/>
              <c:showLegendKey val="0"/>
              <c:showVal val="1"/>
              <c:showCatName val="0"/>
              <c:showSerName val="0"/>
              <c:showPercent val="0"/>
              <c:showBubbleSize val="0"/>
            </c:dLbl>
            <c:dLbl>
              <c:idx val="4"/>
              <c:tx>
                <c:rich>
                  <a:bodyPr/>
                  <a:lstStyle/>
                  <a:p>
                    <a:r>
                      <a:t>220.0</a:t>
                    </a:r>
                  </a:p>
                </c:rich>
              </c:tx>
              <c:dLblPos val="t"/>
              <c:showLegendKey val="0"/>
              <c:showVal val="1"/>
              <c:showCatName val="0"/>
              <c:showSerName val="0"/>
              <c:showPercent val="0"/>
              <c:showBubbleSize val="0"/>
            </c:dLbl>
            <c:dLbl>
              <c:idx val="5"/>
              <c:tx>
                <c:rich>
                  <a:bodyPr/>
                  <a:lstStyle/>
                  <a:p>
                    <a:r>
                      <a:t>268.66</a:t>
                    </a:r>
                  </a:p>
                </c:rich>
              </c:tx>
              <c:dLblPos val="t"/>
              <c:showLegendKey val="0"/>
              <c:showVal val="1"/>
              <c:showCatName val="0"/>
              <c:showSerName val="0"/>
              <c:showPercent val="0"/>
              <c:showBubbleSize val="0"/>
            </c:dLbl>
            <c:dLbl>
              <c:idx val="6"/>
              <c:tx>
                <c:rich>
                  <a:bodyPr/>
                  <a:lstStyle/>
                  <a:p>
                    <a:r>
                      <a:t>248.86</a:t>
                    </a:r>
                  </a:p>
                </c:rich>
              </c:tx>
              <c:dLblPos val="t"/>
              <c:showLegendKey val="0"/>
              <c:showVal val="1"/>
              <c:showCatName val="0"/>
              <c:showSerName val="0"/>
              <c:showPercent val="0"/>
              <c:showBubbleSize val="0"/>
            </c:dLbl>
            <c:dLbl>
              <c:idx val="7"/>
              <c:tx>
                <c:rich>
                  <a:bodyPr/>
                  <a:lstStyle/>
                  <a:p>
                    <a:r>
                      <a:t>253.23</a:t>
                    </a:r>
                  </a:p>
                </c:rich>
              </c:tx>
              <c:dLblPos val="t"/>
              <c:showLegendKey val="0"/>
              <c:showVal val="1"/>
              <c:showCatName val="0"/>
              <c:showSerName val="0"/>
              <c:showPercent val="0"/>
              <c:showBubbleSize val="0"/>
            </c:dLbl>
            <c:dLbl>
              <c:idx val="8"/>
              <c:tx>
                <c:rich>
                  <a:bodyPr/>
                  <a:lstStyle/>
                  <a:p>
                    <a:r>
                      <a:t>249.96</a:t>
                    </a:r>
                  </a:p>
                </c:rich>
              </c:tx>
              <c:dLblPos val="t"/>
              <c:showLegendKey val="0"/>
              <c:showVal val="1"/>
              <c:showCatName val="0"/>
              <c:showSerName val="0"/>
              <c:showPercent val="0"/>
              <c:showBubbleSize val="0"/>
            </c:dLbl>
            <c:dLbl>
              <c:idx val="9"/>
              <c:tx>
                <c:rich>
                  <a:bodyPr/>
                  <a:lstStyle/>
                  <a:p>
                    <a:r>
                      <a:t>281.29</a:t>
                    </a:r>
                  </a:p>
                </c:rich>
              </c:tx>
              <c:dLblPos val="t"/>
              <c:showLegendKey val="0"/>
              <c:showVal val="1"/>
              <c:showCatName val="0"/>
              <c:showSerName val="0"/>
              <c:showPercent val="0"/>
              <c:showBubbleSize val="0"/>
            </c:dLbl>
            <c:dLbl>
              <c:idx val="10"/>
              <c:tx>
                <c:rich>
                  <a:bodyPr/>
                  <a:lstStyle/>
                  <a:p>
                    <a:r>
                      <a:t>72.25</a:t>
                    </a:r>
                  </a:p>
                </c:rich>
              </c:tx>
              <c:dLblPos val="t"/>
              <c:showLegendKey val="0"/>
              <c:showVal val="1"/>
              <c:showCatName val="0"/>
              <c:showSerName val="0"/>
              <c:showPercent val="0"/>
              <c:showBubbleSize val="0"/>
            </c:dLbl>
            <c:dLbl>
              <c:idx val="11"/>
              <c:tx>
                <c:rich>
                  <a:bodyPr/>
                  <a:lstStyle/>
                  <a:p>
                    <a:r>
                      <a:t>244.51</a:t>
                    </a:r>
                  </a:p>
                </c:rich>
              </c:tx>
              <c:dLblPos val="t"/>
              <c:showLegendKey val="0"/>
              <c:showVal val="1"/>
              <c:showCatName val="0"/>
              <c:showSerName val="0"/>
              <c:showPercent val="0"/>
              <c:showBubbleSize val="0"/>
            </c:dLbl>
            <c:dLbl>
              <c:idx val="12"/>
              <c:tx>
                <c:rich>
                  <a:bodyPr/>
                  <a:lstStyle/>
                  <a:p>
                    <a:r>
                      <a:t>133.0</a:t>
                    </a:r>
                  </a:p>
                </c:rich>
              </c:tx>
              <c:dLblPos val="t"/>
              <c:showLegendKey val="0"/>
              <c:showVal val="1"/>
              <c:showCatName val="0"/>
              <c:showSerName val="0"/>
              <c:showPercent val="0"/>
              <c:showBubbleSize val="0"/>
            </c:dLbl>
            <c:dLbl>
              <c:idx val="13"/>
              <c:tx>
                <c:rich>
                  <a:bodyPr/>
                  <a:lstStyle/>
                  <a:p>
                    <a:r>
                      <a:t>175.6</a:t>
                    </a:r>
                  </a:p>
                </c:rich>
              </c:tx>
              <c:dLblPos val="t"/>
              <c:showLegendKey val="0"/>
              <c:showVal val="1"/>
              <c:showCatName val="0"/>
              <c:showSerName val="0"/>
              <c:showPercent val="0"/>
              <c:showBubbleSize val="0"/>
            </c:dLbl>
            <c:dLbl>
              <c:idx val="14"/>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Hawaiian Tropic Other Sunscreen Adults Cosmetics Crema 50+ 240Ml</c:v>
                </c:pt>
                <c:pt idx="2">
                  <c:v>Edgewell Banana Boat Banded Pack Banded Pack 2X Sunscreen Multi 50+ 170Ml</c:v>
                </c:pt>
                <c:pt idx="3">
                  <c:v>Edgewell Banana Boat Advanced Protection Sunscreen Adults Cosmetics Liquido 50+ 60Ml</c:v>
                </c:pt>
                <c:pt idx="4">
                  <c:v>Edgewell Banana Boat Mineral Sunscreen Adults Sport Locion 50 180Ml</c:v>
                </c:pt>
                <c:pt idx="5">
                  <c:v>Edgewell Banana Boat Aqua Protect Sunscreen Adults Sport Crema 50+ 236Ml</c:v>
                </c:pt>
                <c:pt idx="6">
                  <c:v>Edgewell Banana Boat Advanced Protection Sunscreen Adults Sport Liquido 50 180Ml</c:v>
                </c:pt>
                <c:pt idx="7">
                  <c:v>Edgewell Hawaiian Tropic Island Sport Sunscreen Adults Sport Liquido 50 240Ml</c:v>
                </c:pt>
                <c:pt idx="8">
                  <c:v>Edgewell Banana Boat Mineral Sunscreen Adults Cosmetics Locion 50 60Ml</c:v>
                </c:pt>
                <c:pt idx="9">
                  <c:v>Edgewell Hawaiian Tropic Ozono Sunscreen Adults Cosmetics Liquido 50+ 180Ml</c:v>
                </c:pt>
                <c:pt idx="10">
                  <c:v>Edgewell Hawaiian Tropic Island Sport Sunscreen Adults Sport Liquido 50 60Ml</c:v>
                </c:pt>
                <c:pt idx="11">
                  <c:v>Edgewell Hawaiian Tropic Ozono Sunscreen Adults Cosmetics Liquido 50+ 240Ml</c:v>
                </c:pt>
                <c:pt idx="12">
                  <c:v>Edgewell Hawaiian Tropic Sheer Touch Sunscreen Adults Cosmetics Liquido 30 - 49 60Ml</c:v>
                </c:pt>
                <c:pt idx="13">
                  <c:v>Edgewell Hawaiian Tropic After Sun After Sun Adults Cosmetics Gel 0 - 5 240Ml</c:v>
                </c:pt>
                <c:pt idx="14">
                  <c:v>Edgewell Hawaiian Tropic After Sun After Sun Adults Cosmetics Crema 0 - 5 180Ml</c:v>
                </c:pt>
              </c:strCache>
            </c:strRef>
          </c:cat>
          <c:val>
            <c:numRef>
              <c:f>Sheet1!$B$2:$B$16</c:f>
              <c:numCache>
                <c:formatCode>General</c:formatCode>
                <c:ptCount val="15"/>
                <c:pt idx="0">
                  <c:v>240.0</c:v>
                </c:pt>
                <c:pt idx="1">
                  <c:v>250.75</c:v>
                </c:pt>
                <c:pt idx="2">
                  <c:v>310.56</c:v>
                </c:pt>
                <c:pt idx="3">
                  <c:v>93.72</c:v>
                </c:pt>
                <c:pt idx="4">
                  <c:v>220.0</c:v>
                </c:pt>
                <c:pt idx="5">
                  <c:v>268.66</c:v>
                </c:pt>
                <c:pt idx="6">
                  <c:v>248.86</c:v>
                </c:pt>
                <c:pt idx="7">
                  <c:v>253.23</c:v>
                </c:pt>
                <c:pt idx="8">
                  <c:v>249.96</c:v>
                </c:pt>
                <c:pt idx="9">
                  <c:v>281.29</c:v>
                </c:pt>
                <c:pt idx="10">
                  <c:v>72.25</c:v>
                </c:pt>
                <c:pt idx="11">
                  <c:v>244.51</c:v>
                </c:pt>
                <c:pt idx="12">
                  <c:v>133.0</c:v>
                </c:pt>
                <c:pt idx="13">
                  <c:v>175.6</c:v>
                </c:pt>
                <c:pt idx="14">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5</a:t>
                    </a:r>
                  </a:p>
                </c:rich>
              </c:tx>
              <c:dLblPos val="t"/>
              <c:showLegendKey val="0"/>
              <c:showVal val="1"/>
              <c:showCatName val="0"/>
              <c:showSerName val="0"/>
              <c:showPercent val="0"/>
              <c:showBubbleSize val="0"/>
            </c:dLbl>
            <c:dLbl>
              <c:idx val="1"/>
              <c:tx>
                <c:rich>
                  <a:bodyPr/>
                  <a:lstStyle/>
                  <a:p>
                    <a:r>
                      <a:t>294.74</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270.79</a:t>
                    </a:r>
                  </a:p>
                </c:rich>
              </c:tx>
              <c:dLblPos val="t"/>
              <c:showLegendKey val="0"/>
              <c:showVal val="1"/>
              <c:showCatName val="0"/>
              <c:showSerName val="0"/>
              <c:showPercent val="0"/>
              <c:showBubbleSize val="0"/>
            </c:dLbl>
            <c:dLbl>
              <c:idx val="4"/>
              <c:tx>
                <c:rich>
                  <a:bodyPr/>
                  <a:lstStyle/>
                  <a:p>
                    <a:r>
                      <a:t>307.77</a:t>
                    </a:r>
                  </a:p>
                </c:rich>
              </c:tx>
              <c:dLblPos val="t"/>
              <c:showLegendKey val="0"/>
              <c:showVal val="1"/>
              <c:showCatName val="0"/>
              <c:showSerName val="0"/>
              <c:showPercent val="0"/>
              <c:showBubbleSize val="0"/>
            </c:dLbl>
            <c:dLbl>
              <c:idx val="5"/>
              <c:tx>
                <c:rich>
                  <a:bodyPr/>
                  <a:lstStyle/>
                  <a:p>
                    <a:r>
                      <a:t>271.52</a:t>
                    </a:r>
                  </a:p>
                </c:rich>
              </c:tx>
              <c:dLblPos val="t"/>
              <c:showLegendKey val="0"/>
              <c:showVal val="1"/>
              <c:showCatName val="0"/>
              <c:showSerName val="0"/>
              <c:showPercent val="0"/>
              <c:showBubbleSize val="0"/>
            </c:dLbl>
            <c:dLbl>
              <c:idx val="6"/>
              <c:tx>
                <c:rich>
                  <a:bodyPr/>
                  <a:lstStyle/>
                  <a:p>
                    <a:r>
                      <a:t>264.78</a:t>
                    </a:r>
                  </a:p>
                </c:rich>
              </c:tx>
              <c:dLblPos val="t"/>
              <c:showLegendKey val="0"/>
              <c:showVal val="1"/>
              <c:showCatName val="0"/>
              <c:showSerName val="0"/>
              <c:showPercent val="0"/>
              <c:showBubbleSize val="0"/>
            </c:dLbl>
            <c:dLbl>
              <c:idx val="7"/>
              <c:tx>
                <c:rich>
                  <a:bodyPr/>
                  <a:lstStyle/>
                  <a:p>
                    <a:r>
                      <a:t>104.26</a:t>
                    </a:r>
                  </a:p>
                </c:rich>
              </c:tx>
              <c:dLblPos val="t"/>
              <c:showLegendKey val="0"/>
              <c:showVal val="1"/>
              <c:showCatName val="0"/>
              <c:showSerName val="0"/>
              <c:showPercent val="0"/>
              <c:showBubbleSize val="0"/>
            </c:dLbl>
            <c:dLbl>
              <c:idx val="8"/>
              <c:tx>
                <c:rich>
                  <a:bodyPr/>
                  <a:lstStyle/>
                  <a:p>
                    <a:r>
                      <a:t>308.34</a:t>
                    </a:r>
                  </a:p>
                </c:rich>
              </c:tx>
              <c:dLblPos val="t"/>
              <c:showLegendKey val="0"/>
              <c:showVal val="1"/>
              <c:showCatName val="0"/>
              <c:showSerName val="0"/>
              <c:showPercent val="0"/>
              <c:showBubbleSize val="0"/>
            </c:dLbl>
            <c:dLbl>
              <c:idx val="9"/>
              <c:tx>
                <c:rich>
                  <a:bodyPr/>
                  <a:lstStyle/>
                  <a:p>
                    <a:r>
                      <a:t>185.41</a:t>
                    </a:r>
                  </a:p>
                </c:rich>
              </c:tx>
              <c:dLblPos val="t"/>
              <c:showLegendKey val="0"/>
              <c:showVal val="1"/>
              <c:showCatName val="0"/>
              <c:showSerName val="0"/>
              <c:showPercent val="0"/>
              <c:showBubbleSize val="0"/>
            </c:dLbl>
            <c:dLbl>
              <c:idx val="10"/>
              <c:tx>
                <c:rich>
                  <a:bodyPr/>
                  <a:lstStyle/>
                  <a:p>
                    <a:r>
                      <a:t>308.59</a:t>
                    </a:r>
                  </a:p>
                </c:rich>
              </c:tx>
              <c:dLblPos val="t"/>
              <c:showLegendKey val="0"/>
              <c:showVal val="1"/>
              <c:showCatName val="0"/>
              <c:showSerName val="0"/>
              <c:showPercent val="0"/>
              <c:showBubbleSize val="0"/>
            </c:dLbl>
            <c:dLbl>
              <c:idx val="11"/>
              <c:tx>
                <c:rich>
                  <a:bodyPr/>
                  <a:lstStyle/>
                  <a:p>
                    <a:r>
                      <a:t>275.98</a:t>
                    </a:r>
                  </a:p>
                </c:rich>
              </c:tx>
              <c:dLblPos val="t"/>
              <c:showLegendKey val="0"/>
              <c:showVal val="1"/>
              <c:showCatName val="0"/>
              <c:showSerName val="0"/>
              <c:showPercent val="0"/>
              <c:showBubbleSize val="0"/>
            </c:dLbl>
            <c:dLbl>
              <c:idx val="12"/>
              <c:tx>
                <c:rich>
                  <a:bodyPr/>
                  <a:lstStyle/>
                  <a:p>
                    <a:r>
                      <a:t>309.91</a:t>
                    </a:r>
                  </a:p>
                </c:rich>
              </c:tx>
              <c:dLblPos val="t"/>
              <c:showLegendKey val="0"/>
              <c:showVal val="1"/>
              <c:showCatName val="0"/>
              <c:showSerName val="0"/>
              <c:showPercent val="0"/>
              <c:showBubbleSize val="0"/>
            </c:dLbl>
            <c:dLbl>
              <c:idx val="13"/>
              <c:tx>
                <c:rich>
                  <a:bodyPr/>
                  <a:lstStyle/>
                  <a:p>
                    <a:r>
                      <a:t>281.66</a:t>
                    </a:r>
                  </a:p>
                </c:rich>
              </c:tx>
              <c:dLblPos val="t"/>
              <c:showLegendKey val="0"/>
              <c:showVal val="1"/>
              <c:showCatName val="0"/>
              <c:showSerName val="0"/>
              <c:showPercent val="0"/>
              <c:showBubbleSize val="0"/>
            </c:dLbl>
            <c:dLbl>
              <c:idx val="14"/>
              <c:tx>
                <c:rich>
                  <a:bodyPr/>
                  <a:lstStyle/>
                  <a:p>
                    <a:r>
                      <a:t>293.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Ozono Sunscreen Adults Cosmetics Liquido 50+ 90Ml</c:v>
                </c:pt>
                <c:pt idx="8">
                  <c:v>Edgewell Banana Boat Dry Balance Sunscreen Adults Sport Spray Liquido 50 220Ml</c:v>
                </c:pt>
                <c:pt idx="9">
                  <c:v>Edgewell Hawaiian Tropic Sheer Touch Sunscreen Adults Cosmetics Crema 50 120Ml</c:v>
                </c:pt>
                <c:pt idx="10">
                  <c:v>Edgewell Banana Boat Aqua Protect Sunscreen Adults Cosmetics Spray Liquido 50+ 170Ml</c:v>
                </c:pt>
                <c:pt idx="11">
                  <c:v>Edgewell Banana Boat Advanced Protection Sunscreen Adults Cosmetics Liquido 50+ 240Ml</c:v>
                </c:pt>
                <c:pt idx="12">
                  <c:v>Edgewell Hawaiian Tropic Ozono Sunscreen Adults Cosmetics Spray Liquido 50+ 180Ml</c:v>
                </c:pt>
                <c:pt idx="13">
                  <c:v>Edgewell Hawaiian Tropic Sheer Touch Sunscreen Adults Cosmetics Crema 30 - 49 240Ml</c:v>
                </c:pt>
                <c:pt idx="14">
                  <c:v>Edgewell Hawaiian Tropic Silk Hydration Sunscreen Adults Cosmetics Liquido 50 180Ml</c:v>
                </c:pt>
              </c:strCache>
            </c:strRef>
          </c:cat>
          <c:val>
            <c:numRef>
              <c:f>Sheet1!$B$2:$B$16</c:f>
              <c:numCache>
                <c:formatCode>General</c:formatCode>
                <c:ptCount val="15"/>
                <c:pt idx="0">
                  <c:v>285.75</c:v>
                </c:pt>
                <c:pt idx="1">
                  <c:v>294.74</c:v>
                </c:pt>
                <c:pt idx="2">
                  <c:v>285.74</c:v>
                </c:pt>
                <c:pt idx="3">
                  <c:v>270.79</c:v>
                </c:pt>
                <c:pt idx="4">
                  <c:v>307.77</c:v>
                </c:pt>
                <c:pt idx="5">
                  <c:v>271.52</c:v>
                </c:pt>
                <c:pt idx="6">
                  <c:v>264.78</c:v>
                </c:pt>
                <c:pt idx="7">
                  <c:v>104.26</c:v>
                </c:pt>
                <c:pt idx="8">
                  <c:v>308.34</c:v>
                </c:pt>
                <c:pt idx="9">
                  <c:v>185.41</c:v>
                </c:pt>
                <c:pt idx="10">
                  <c:v>308.59</c:v>
                </c:pt>
                <c:pt idx="11">
                  <c:v>275.98</c:v>
                </c:pt>
                <c:pt idx="12">
                  <c:v>309.91</c:v>
                </c:pt>
                <c:pt idx="13">
                  <c:v>281.66</c:v>
                </c:pt>
                <c:pt idx="14">
                  <c:v>293.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dLblPos val="t"/>
              <c:showLegendKey val="0"/>
              <c:showVal val="1"/>
              <c:showCatName val="0"/>
              <c:showSerName val="0"/>
              <c:showPercent val="0"/>
              <c:showBubbleSize val="0"/>
            </c:dLbl>
            <c:dLbl>
              <c:idx val="1"/>
              <c:tx>
                <c:rich>
                  <a:bodyPr/>
                  <a:lstStyle/>
                  <a:p>
                    <a:r>
                      <a:t>307.23</a:t>
                    </a:r>
                  </a:p>
                </c:rich>
              </c:tx>
              <c:dLblPos val="t"/>
              <c:showLegendKey val="0"/>
              <c:showVal val="1"/>
              <c:showCatName val="0"/>
              <c:showSerName val="0"/>
              <c:showPercent val="0"/>
              <c:showBubbleSize val="0"/>
            </c:dLbl>
            <c:dLbl>
              <c:idx val="2"/>
              <c:tx>
                <c:rich>
                  <a:bodyPr/>
                  <a:lstStyle/>
                  <a:p>
                    <a:r>
                      <a:t>312.26</a:t>
                    </a:r>
                  </a:p>
                </c:rich>
              </c:tx>
              <c:dLblPos val="t"/>
              <c:showLegendKey val="0"/>
              <c:showVal val="1"/>
              <c:showCatName val="0"/>
              <c:showSerName val="0"/>
              <c:showPercent val="0"/>
              <c:showBubbleSize val="0"/>
            </c:dLbl>
            <c:dLbl>
              <c:idx val="3"/>
              <c:tx>
                <c:rich>
                  <a:bodyPr/>
                  <a:lstStyle/>
                  <a:p>
                    <a:r>
                      <a:t>311.89</a:t>
                    </a:r>
                  </a:p>
                </c:rich>
              </c:tx>
              <c:dLblPos val="t"/>
              <c:showLegendKey val="0"/>
              <c:showVal val="1"/>
              <c:showCatName val="0"/>
              <c:showSerName val="0"/>
              <c:showPercent val="0"/>
              <c:showBubbleSize val="0"/>
            </c:dLbl>
            <c:dLbl>
              <c:idx val="4"/>
              <c:tx>
                <c:rich>
                  <a:bodyPr/>
                  <a:lstStyle/>
                  <a:p>
                    <a:r>
                      <a:t>302.7</a:t>
                    </a:r>
                  </a:p>
                </c:rich>
              </c:tx>
              <c:dLblPos val="t"/>
              <c:showLegendKey val="0"/>
              <c:showVal val="1"/>
              <c:showCatName val="0"/>
              <c:showSerName val="0"/>
              <c:showPercent val="0"/>
              <c:showBubbleSize val="0"/>
            </c:dLbl>
            <c:dLbl>
              <c:idx val="5"/>
              <c:tx>
                <c:rich>
                  <a:bodyPr/>
                  <a:lstStyle/>
                  <a:p>
                    <a:r>
                      <a:t>283.77</a:t>
                    </a:r>
                  </a:p>
                </c:rich>
              </c:tx>
              <c:dLblPos val="t"/>
              <c:showLegendKey val="0"/>
              <c:showVal val="1"/>
              <c:showCatName val="0"/>
              <c:showSerName val="0"/>
              <c:showPercent val="0"/>
              <c:showBubbleSize val="0"/>
            </c:dLbl>
            <c:dLbl>
              <c:idx val="6"/>
              <c:tx>
                <c:rich>
                  <a:bodyPr/>
                  <a:lstStyle/>
                  <a:p>
                    <a:r>
                      <a:t>188.44</a:t>
                    </a:r>
                  </a:p>
                </c:rich>
              </c:tx>
              <c:dLblPos val="t"/>
              <c:showLegendKey val="0"/>
              <c:showVal val="1"/>
              <c:showCatName val="0"/>
              <c:showSerName val="0"/>
              <c:showPercent val="0"/>
              <c:showBubbleSize val="0"/>
            </c:dLbl>
            <c:dLbl>
              <c:idx val="7"/>
              <c:tx>
                <c:rich>
                  <a:bodyPr/>
                  <a:lstStyle/>
                  <a:p>
                    <a:r>
                      <a:t>305.15</a:t>
                    </a:r>
                  </a:p>
                </c:rich>
              </c:tx>
              <c:dLblPos val="t"/>
              <c:showLegendKey val="0"/>
              <c:showVal val="1"/>
              <c:showCatName val="0"/>
              <c:showSerName val="0"/>
              <c:showPercent val="0"/>
              <c:showBubbleSize val="0"/>
            </c:dLbl>
            <c:dLbl>
              <c:idx val="8"/>
              <c:tx>
                <c:rich>
                  <a:bodyPr/>
                  <a:lstStyle/>
                  <a:p>
                    <a:r>
                      <a:t>302.86</a:t>
                    </a:r>
                  </a:p>
                </c:rich>
              </c:tx>
              <c:dLblPos val="t"/>
              <c:showLegendKey val="0"/>
              <c:showVal val="1"/>
              <c:showCatName val="0"/>
              <c:showSerName val="0"/>
              <c:showPercent val="0"/>
              <c:showBubbleSize val="0"/>
            </c:dLbl>
            <c:dLbl>
              <c:idx val="9"/>
              <c:tx>
                <c:rich>
                  <a:bodyPr/>
                  <a:lstStyle/>
                  <a:p>
                    <a:r>
                      <a:t>325.25</a:t>
                    </a:r>
                  </a:p>
                </c:rich>
              </c:tx>
              <c:dLblPos val="t"/>
              <c:showLegendKey val="0"/>
              <c:showVal val="1"/>
              <c:showCatName val="0"/>
              <c:showSerName val="0"/>
              <c:showPercent val="0"/>
              <c:showBubbleSize val="0"/>
            </c:dLbl>
            <c:dLbl>
              <c:idx val="10"/>
              <c:tx>
                <c:rich>
                  <a:bodyPr/>
                  <a:lstStyle/>
                  <a:p>
                    <a:r>
                      <a:t>258.77</a:t>
                    </a:r>
                  </a:p>
                </c:rich>
              </c:tx>
              <c:dLblPos val="t"/>
              <c:showLegendKey val="0"/>
              <c:showVal val="1"/>
              <c:showCatName val="0"/>
              <c:showSerName val="0"/>
              <c:showPercent val="0"/>
              <c:showBubbleSize val="0"/>
            </c:dLbl>
            <c:dLbl>
              <c:idx val="11"/>
              <c:tx>
                <c:rich>
                  <a:bodyPr/>
                  <a:lstStyle/>
                  <a:p>
                    <a:r>
                      <a:t>342.71</a:t>
                    </a:r>
                  </a:p>
                </c:rich>
              </c:tx>
              <c:dLblPos val="t"/>
              <c:showLegendKey val="0"/>
              <c:showVal val="1"/>
              <c:showCatName val="0"/>
              <c:showSerName val="0"/>
              <c:showPercent val="0"/>
              <c:showBubbleSize val="0"/>
            </c:dLbl>
            <c:dLbl>
              <c:idx val="12"/>
              <c:tx>
                <c:rich>
                  <a:bodyPr/>
                  <a:lstStyle/>
                  <a:p>
                    <a:r>
                      <a:t>296.61</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83.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dvanced Protection Sunscreen Adults Cosmetics Liquido 50+ 240Ml</c:v>
                </c:pt>
                <c:pt idx="2">
                  <c:v>Edgewell Banana Boat Aqua Protect Sunscreen Adults Cosmetics Spray Liquido 50+ 170Ml</c:v>
                </c:pt>
                <c:pt idx="3">
                  <c:v>Edgewell Hawaiian Tropic Ozono Sunscreen Adults Cosmetics Spray Liquido 50+ 180Ml</c:v>
                </c:pt>
                <c:pt idx="4">
                  <c:v>Edgewell Hawaiian Tropic Other Sunscreen Adults Cosmetics Crema 50+ 240Ml</c:v>
                </c:pt>
                <c:pt idx="5">
                  <c:v>Edgewell Banana Boat Aqua Protect Sunscreen Adults Cosmetics Crema 50+ 236Ml</c:v>
                </c:pt>
                <c:pt idx="6">
                  <c:v>Edgewell Hawaiian Tropic Sheer Touch Sunscreen Adults Cosmetics Crema 50 120Ml</c:v>
                </c:pt>
                <c:pt idx="7">
                  <c:v>Edgewell Hawaiian Tropic Island Sport Sunscreen Adults Sport Liquido 50 240Ml</c:v>
                </c:pt>
                <c:pt idx="8">
                  <c:v>Edgewell Banana Boat Dry Balance Sunscreen Adults Sport Spray Liquido 50 220Ml</c:v>
                </c:pt>
                <c:pt idx="9">
                  <c:v>Edgewell Hawaiian Tropic Island Sport Sunscreen Adults Sport Spray Liquido 50 220Ml</c:v>
                </c:pt>
                <c:pt idx="10">
                  <c:v>Edgewell Banana Boat Banded Pack Banded Pack 2X Sunscreen Multi 50+ 236Ml</c:v>
                </c:pt>
                <c:pt idx="11">
                  <c:v>Edgewell Banana Boat Banded Pack Banded Pack 2X Sunscreen Multi 50+ 170Ml</c:v>
                </c:pt>
                <c:pt idx="12">
                  <c:v>Edgewell Banana Boat Aqua Protect Sunscreen Adults Sport Crema 50+ 236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1.59</c:v>
                </c:pt>
                <c:pt idx="1">
                  <c:v>307.23</c:v>
                </c:pt>
                <c:pt idx="2">
                  <c:v>312.26</c:v>
                </c:pt>
                <c:pt idx="3">
                  <c:v>311.89</c:v>
                </c:pt>
                <c:pt idx="4">
                  <c:v>302.7</c:v>
                </c:pt>
                <c:pt idx="5">
                  <c:v>283.77</c:v>
                </c:pt>
                <c:pt idx="6">
                  <c:v>188.44</c:v>
                </c:pt>
                <c:pt idx="7">
                  <c:v>305.15</c:v>
                </c:pt>
                <c:pt idx="8">
                  <c:v>302.86</c:v>
                </c:pt>
                <c:pt idx="9">
                  <c:v>325.25</c:v>
                </c:pt>
                <c:pt idx="10">
                  <c:v>258.77</c:v>
                </c:pt>
                <c:pt idx="11">
                  <c:v>342.71</c:v>
                </c:pt>
                <c:pt idx="12">
                  <c:v>296.61</c:v>
                </c:pt>
                <c:pt idx="13">
                  <c:v>148.93</c:v>
                </c:pt>
                <c:pt idx="14">
                  <c:v>2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dLblPos val="t"/>
              <c:showLegendKey val="0"/>
              <c:showVal val="1"/>
              <c:showCatName val="0"/>
              <c:showSerName val="0"/>
              <c:showPercent val="0"/>
              <c:showBubbleSize val="0"/>
            </c:dLbl>
            <c:dLbl>
              <c:idx val="1"/>
              <c:tx>
                <c:rich>
                  <a:bodyPr/>
                  <a:lstStyle/>
                  <a:p>
                    <a:r>
                      <a:t>338.04</a:t>
                    </a:r>
                  </a:p>
                </c:rich>
              </c:tx>
              <c:dLblPos val="t"/>
              <c:showLegendKey val="0"/>
              <c:showVal val="1"/>
              <c:showCatName val="0"/>
              <c:showSerName val="0"/>
              <c:showPercent val="0"/>
              <c:showBubbleSize val="0"/>
            </c:dLbl>
            <c:dLbl>
              <c:idx val="2"/>
              <c:tx>
                <c:rich>
                  <a:bodyPr/>
                  <a:lstStyle/>
                  <a:p>
                    <a:r>
                      <a:t>290.72</a:t>
                    </a:r>
                  </a:p>
                </c:rich>
              </c:tx>
              <c:dLblPos val="t"/>
              <c:showLegendKey val="0"/>
              <c:showVal val="1"/>
              <c:showCatName val="0"/>
              <c:showSerName val="0"/>
              <c:showPercent val="0"/>
              <c:showBubbleSize val="0"/>
            </c:dLbl>
            <c:dLbl>
              <c:idx val="3"/>
              <c:tx>
                <c:rich>
                  <a:bodyPr/>
                  <a:lstStyle/>
                  <a:p>
                    <a:r>
                      <a:t>316.05</a:t>
                    </a:r>
                  </a:p>
                </c:rich>
              </c:tx>
              <c:dLblPos val="t"/>
              <c:showLegendKey val="0"/>
              <c:showVal val="1"/>
              <c:showCatName val="0"/>
              <c:showSerName val="0"/>
              <c:showPercent val="0"/>
              <c:showBubbleSize val="0"/>
            </c:dLbl>
            <c:dLbl>
              <c:idx val="4"/>
              <c:tx>
                <c:rich>
                  <a:bodyPr/>
                  <a:lstStyle/>
                  <a:p>
                    <a:r>
                      <a:t>310.2</a:t>
                    </a:r>
                  </a:p>
                </c:rich>
              </c:tx>
              <c:dLblPos val="t"/>
              <c:showLegendKey val="0"/>
              <c:showVal val="1"/>
              <c:showCatName val="0"/>
              <c:showSerName val="0"/>
              <c:showPercent val="0"/>
              <c:showBubbleSize val="0"/>
            </c:dLbl>
            <c:dLbl>
              <c:idx val="5"/>
              <c:tx>
                <c:rich>
                  <a:bodyPr/>
                  <a:lstStyle/>
                  <a:p>
                    <a:r>
                      <a:t>317.39</a:t>
                    </a:r>
                  </a:p>
                </c:rich>
              </c:tx>
              <c:dLblPos val="t"/>
              <c:showLegendKey val="0"/>
              <c:showVal val="1"/>
              <c:showCatName val="0"/>
              <c:showSerName val="0"/>
              <c:showPercent val="0"/>
              <c:showBubbleSize val="0"/>
            </c:dLbl>
            <c:dLbl>
              <c:idx val="6"/>
              <c:tx>
                <c:rich>
                  <a:bodyPr/>
                  <a:lstStyle/>
                  <a:p>
                    <a:r>
                      <a:t>269.13</a:t>
                    </a:r>
                  </a:p>
                </c:rich>
              </c:tx>
              <c:dLblPos val="t"/>
              <c:showLegendKey val="0"/>
              <c:showVal val="1"/>
              <c:showCatName val="0"/>
              <c:showSerName val="0"/>
              <c:showPercent val="0"/>
              <c:showBubbleSize val="0"/>
            </c:dLbl>
            <c:dLbl>
              <c:idx val="7"/>
              <c:tx>
                <c:rich>
                  <a:bodyPr/>
                  <a:lstStyle/>
                  <a:p>
                    <a:r>
                      <a:t>88.43</a:t>
                    </a:r>
                  </a:p>
                </c:rich>
              </c:tx>
              <c:dLblPos val="t"/>
              <c:showLegendKey val="0"/>
              <c:showVal val="1"/>
              <c:showCatName val="0"/>
              <c:showSerName val="0"/>
              <c:showPercent val="0"/>
              <c:showBubbleSize val="0"/>
            </c:dLbl>
            <c:dLbl>
              <c:idx val="8"/>
              <c:tx>
                <c:rich>
                  <a:bodyPr/>
                  <a:lstStyle/>
                  <a:p>
                    <a:r>
                      <a:t>336.9</a:t>
                    </a:r>
                  </a:p>
                </c:rich>
              </c:tx>
              <c:dLblPos val="t"/>
              <c:showLegendKey val="0"/>
              <c:showVal val="1"/>
              <c:showCatName val="0"/>
              <c:showSerName val="0"/>
              <c:showPercent val="0"/>
              <c:showBubbleSize val="0"/>
            </c:dLbl>
            <c:dLbl>
              <c:idx val="9"/>
              <c:tx>
                <c:rich>
                  <a:bodyPr/>
                  <a:lstStyle/>
                  <a:p>
                    <a:r>
                      <a:t>330.14</a:t>
                    </a:r>
                  </a:p>
                </c:rich>
              </c:tx>
              <c:dLblPos val="t"/>
              <c:showLegendKey val="0"/>
              <c:showVal val="1"/>
              <c:showCatName val="0"/>
              <c:showSerName val="0"/>
              <c:showPercent val="0"/>
              <c:showBubbleSize val="0"/>
            </c:dLbl>
            <c:dLbl>
              <c:idx val="10"/>
              <c:tx>
                <c:rich>
                  <a:bodyPr/>
                  <a:lstStyle/>
                  <a:p>
                    <a:r>
                      <a:t>333.98</a:t>
                    </a:r>
                  </a:p>
                </c:rich>
              </c:tx>
              <c:dLblPos val="t"/>
              <c:showLegendKey val="0"/>
              <c:showVal val="1"/>
              <c:showCatName val="0"/>
              <c:showSerName val="0"/>
              <c:showPercent val="0"/>
              <c:showBubbleSize val="0"/>
            </c:dLbl>
            <c:dLbl>
              <c:idx val="11"/>
              <c:tx>
                <c:rich>
                  <a:bodyPr/>
                  <a:lstStyle/>
                  <a:p>
                    <a:r>
                      <a:t>311.72</a:t>
                    </a:r>
                  </a:p>
                </c:rich>
              </c:tx>
              <c:dLblPos val="t"/>
              <c:showLegendKey val="0"/>
              <c:showVal val="1"/>
              <c:showCatName val="0"/>
              <c:showSerName val="0"/>
              <c:showPercent val="0"/>
              <c:showBubbleSize val="0"/>
            </c:dLbl>
            <c:dLbl>
              <c:idx val="12"/>
              <c:tx>
                <c:rich>
                  <a:bodyPr/>
                  <a:lstStyle/>
                  <a:p>
                    <a:r>
                      <a:t>254.68</a:t>
                    </a:r>
                  </a:p>
                </c:rich>
              </c:tx>
              <c:dLblPos val="t"/>
              <c:showLegendKey val="0"/>
              <c:showVal val="1"/>
              <c:showCatName val="0"/>
              <c:showSerName val="0"/>
              <c:showPercent val="0"/>
              <c:showBubbleSize val="0"/>
            </c:dLbl>
            <c:dLbl>
              <c:idx val="13"/>
              <c:tx>
                <c:rich>
                  <a:bodyPr/>
                  <a:lstStyle/>
                  <a:p>
                    <a:r>
                      <a:t>276.49</a:t>
                    </a:r>
                  </a:p>
                </c:rich>
              </c:tx>
              <c:dLblPos val="t"/>
              <c:showLegendKey val="0"/>
              <c:showVal val="1"/>
              <c:showCatName val="0"/>
              <c:showSerName val="0"/>
              <c:showPercent val="0"/>
              <c:showBubbleSize val="0"/>
            </c:dLbl>
            <c:dLbl>
              <c:idx val="14"/>
              <c:tx>
                <c:rich>
                  <a:bodyPr/>
                  <a:lstStyle/>
                  <a:p>
                    <a:r>
                      <a:t>149.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Edgewell Banana Boat Aqua Protect Sunscreen Adults Cosmetics Spray Liquido 50+ 17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Cosmetics Locion 50 180Ml</c:v>
                </c:pt>
                <c:pt idx="10">
                  <c:v>Edgewell Banana Boat Mineral Sunscreen Adults Sport Locion 50 180Ml</c:v>
                </c:pt>
                <c:pt idx="11">
                  <c:v>Edgewell Banana Boat Dry Balance Sunscreen Adults Sport Crema 50+ 180Ml</c:v>
                </c:pt>
                <c:pt idx="12">
                  <c:v>Edgewell Banana Boat Advanced Protection Sunscreen Adults Cosmetics Liquido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03.99</c:v>
                </c:pt>
                <c:pt idx="1">
                  <c:v>338.04</c:v>
                </c:pt>
                <c:pt idx="2">
                  <c:v>290.72</c:v>
                </c:pt>
                <c:pt idx="3">
                  <c:v>316.05</c:v>
                </c:pt>
                <c:pt idx="4">
                  <c:v>310.2</c:v>
                </c:pt>
                <c:pt idx="5">
                  <c:v>317.39</c:v>
                </c:pt>
                <c:pt idx="6">
                  <c:v>269.13</c:v>
                </c:pt>
                <c:pt idx="7">
                  <c:v>88.43</c:v>
                </c:pt>
                <c:pt idx="8">
                  <c:v>336.9</c:v>
                </c:pt>
                <c:pt idx="9">
                  <c:v>330.14</c:v>
                </c:pt>
                <c:pt idx="10">
                  <c:v>333.98</c:v>
                </c:pt>
                <c:pt idx="11">
                  <c:v>311.72</c:v>
                </c:pt>
                <c:pt idx="12">
                  <c:v>254.68</c:v>
                </c:pt>
                <c:pt idx="13">
                  <c:v>276.49</c:v>
                </c:pt>
                <c:pt idx="14">
                  <c:v>14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dLblPos val="t"/>
              <c:showLegendKey val="0"/>
              <c:showVal val="1"/>
              <c:showCatName val="0"/>
              <c:showSerName val="0"/>
              <c:showPercent val="0"/>
              <c:showBubbleSize val="0"/>
            </c:dLbl>
            <c:dLbl>
              <c:idx val="1"/>
              <c:tx>
                <c:rich>
                  <a:bodyPr/>
                  <a:lstStyle/>
                  <a:p>
                    <a:r>
                      <a:t>310.2</a:t>
                    </a:r>
                  </a:p>
                </c:rich>
              </c:tx>
              <c:dLblPos val="t"/>
              <c:showLegendKey val="0"/>
              <c:showVal val="1"/>
              <c:showCatName val="0"/>
              <c:showSerName val="0"/>
              <c:showPercent val="0"/>
              <c:showBubbleSize val="0"/>
            </c:dLbl>
            <c:dLbl>
              <c:idx val="2"/>
              <c:tx>
                <c:rich>
                  <a:bodyPr/>
                  <a:lstStyle/>
                  <a:p>
                    <a:r>
                      <a:t>317.39</a:t>
                    </a:r>
                  </a:p>
                </c:rich>
              </c:tx>
              <c:dLblPos val="t"/>
              <c:showLegendKey val="0"/>
              <c:showVal val="1"/>
              <c:showCatName val="0"/>
              <c:showSerName val="0"/>
              <c:showPercent val="0"/>
              <c:showBubbleSize val="0"/>
            </c:dLbl>
            <c:dLbl>
              <c:idx val="3"/>
              <c:tx>
                <c:rich>
                  <a:bodyPr/>
                  <a:lstStyle/>
                  <a:p>
                    <a:r>
                      <a:t>327.07</a:t>
                    </a:r>
                  </a:p>
                </c:rich>
              </c:tx>
              <c:dLblPos val="t"/>
              <c:showLegendKey val="0"/>
              <c:showVal val="1"/>
              <c:showCatName val="0"/>
              <c:showSerName val="0"/>
              <c:showPercent val="0"/>
              <c:showBubbleSize val="0"/>
            </c:dLbl>
            <c:dLbl>
              <c:idx val="4"/>
              <c:tx>
                <c:rich>
                  <a:bodyPr/>
                  <a:lstStyle/>
                  <a:p>
                    <a:r>
                      <a:t>305.74</a:t>
                    </a:r>
                  </a:p>
                </c:rich>
              </c:tx>
              <c:dLblPos val="t"/>
              <c:showLegendKey val="0"/>
              <c:showVal val="1"/>
              <c:showCatName val="0"/>
              <c:showSerName val="0"/>
              <c:showPercent val="0"/>
              <c:showBubbleSize val="0"/>
            </c:dLbl>
            <c:dLbl>
              <c:idx val="5"/>
              <c:tx>
                <c:rich>
                  <a:bodyPr/>
                  <a:lstStyle/>
                  <a:p>
                    <a:r>
                      <a:t>290.72</a:t>
                    </a:r>
                  </a:p>
                </c:rich>
              </c:tx>
              <c:dLblPos val="t"/>
              <c:showLegendKey val="0"/>
              <c:showVal val="1"/>
              <c:showCatName val="0"/>
              <c:showSerName val="0"/>
              <c:showPercent val="0"/>
              <c:showBubbleSize val="0"/>
            </c:dLbl>
            <c:dLbl>
              <c:idx val="6"/>
              <c:tx>
                <c:rich>
                  <a:bodyPr/>
                  <a:lstStyle/>
                  <a:p>
                    <a:r>
                      <a:t>189.32</a:t>
                    </a:r>
                  </a:p>
                </c:rich>
              </c:tx>
              <c:dLblPos val="t"/>
              <c:showLegendKey val="0"/>
              <c:showVal val="1"/>
              <c:showCatName val="0"/>
              <c:showSerName val="0"/>
              <c:showPercent val="0"/>
              <c:showBubbleSize val="0"/>
            </c:dLbl>
            <c:dLbl>
              <c:idx val="7"/>
              <c:tx>
                <c:rich>
                  <a:bodyPr/>
                  <a:lstStyle/>
                  <a:p>
                    <a:r>
                      <a:t>308.69</a:t>
                    </a:r>
                  </a:p>
                </c:rich>
              </c:tx>
              <c:dLblPos val="t"/>
              <c:showLegendKey val="0"/>
              <c:showVal val="1"/>
              <c:showCatName val="0"/>
              <c:showSerName val="0"/>
              <c:showPercent val="0"/>
              <c:showBubbleSize val="0"/>
            </c:dLbl>
            <c:dLbl>
              <c:idx val="8"/>
              <c:tx>
                <c:rich>
                  <a:bodyPr/>
                  <a:lstStyle/>
                  <a:p>
                    <a:r>
                      <a:t>316.05</a:t>
                    </a:r>
                  </a:p>
                </c:rich>
              </c:tx>
              <c:dLblPos val="t"/>
              <c:showLegendKey val="0"/>
              <c:showVal val="1"/>
              <c:showCatName val="0"/>
              <c:showSerName val="0"/>
              <c:showPercent val="0"/>
              <c:showBubbleSize val="0"/>
            </c:dLbl>
            <c:dLbl>
              <c:idx val="9"/>
              <c:tx>
                <c:rich>
                  <a:bodyPr/>
                  <a:lstStyle/>
                  <a:p>
                    <a:r>
                      <a:t>334.03</a:t>
                    </a:r>
                  </a:p>
                </c:rich>
              </c:tx>
              <c:dLblPos val="t"/>
              <c:showLegendKey val="0"/>
              <c:showVal val="1"/>
              <c:showCatName val="0"/>
              <c:showSerName val="0"/>
              <c:showPercent val="0"/>
              <c:showBubbleSize val="0"/>
            </c:dLbl>
            <c:dLbl>
              <c:idx val="10"/>
              <c:tx>
                <c:rich>
                  <a:bodyPr/>
                  <a:lstStyle/>
                  <a:p>
                    <a:r>
                      <a:t>269.13</a:t>
                    </a:r>
                  </a:p>
                </c:rich>
              </c:tx>
              <c:dLblPos val="t"/>
              <c:showLegendKey val="0"/>
              <c:showVal val="1"/>
              <c:showCatName val="0"/>
              <c:showSerName val="0"/>
              <c:showPercent val="0"/>
              <c:showBubbleSize val="0"/>
            </c:dLbl>
            <c:dLbl>
              <c:idx val="11"/>
              <c:tx>
                <c:rich>
                  <a:bodyPr/>
                  <a:lstStyle/>
                  <a:p>
                    <a:r>
                      <a:t>303.99</a:t>
                    </a:r>
                  </a:p>
                </c:rich>
              </c:tx>
              <c:dLblPos val="t"/>
              <c:showLegendKey val="0"/>
              <c:showVal val="1"/>
              <c:showCatName val="0"/>
              <c:showSerName val="0"/>
              <c:showPercent val="0"/>
              <c:showBubbleSize val="0"/>
            </c:dLbl>
            <c:dLbl>
              <c:idx val="12"/>
              <c:tx>
                <c:rich>
                  <a:bodyPr/>
                  <a:lstStyle/>
                  <a:p>
                    <a:r>
                      <a:t>149.69</a:t>
                    </a:r>
                  </a:p>
                </c:rich>
              </c:tx>
              <c:dLblPos val="t"/>
              <c:showLegendKey val="0"/>
              <c:showVal val="1"/>
              <c:showCatName val="0"/>
              <c:showSerName val="0"/>
              <c:showPercent val="0"/>
              <c:showBubbleSize val="0"/>
            </c:dLbl>
            <c:dLbl>
              <c:idx val="13"/>
              <c:tx>
                <c:rich>
                  <a:bodyPr/>
                  <a:lstStyle/>
                  <a:p>
                    <a:r>
                      <a:t>325.13</a:t>
                    </a:r>
                  </a:p>
                </c:rich>
              </c:tx>
              <c:dLblPos val="t"/>
              <c:showLegendKey val="0"/>
              <c:showVal val="1"/>
              <c:showCatName val="0"/>
              <c:showSerName val="0"/>
              <c:showPercent val="0"/>
              <c:showBubbleSize val="0"/>
            </c:dLbl>
            <c:dLbl>
              <c:idx val="14"/>
              <c:tx>
                <c:rich>
                  <a:bodyPr/>
                  <a:lstStyle/>
                  <a:p>
                    <a:r>
                      <a:t>287.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dvanced Protection Sunscreen Adults Cosmetics Liquido 50+ 240Ml</c:v>
                </c:pt>
                <c:pt idx="2">
                  <c:v>Edgewell Banana Boat Aqua Protect Sunscreen Adults Cosmetics Spray Liquido 50+ 170Ml</c:v>
                </c:pt>
                <c:pt idx="3">
                  <c:v>Edgewell Hawaiian Tropic Ozono Sunscreen Adults Cosmetics Spray Liquido 50+ 180Ml</c:v>
                </c:pt>
                <c:pt idx="4">
                  <c:v>Edgewell Hawaiian Tropic Other Sunscreen Adults Cosmetics Crema 50+ 240Ml</c:v>
                </c:pt>
                <c:pt idx="5">
                  <c:v>Edgewell Banana Boat Aqua Protect Sunscreen Adults Cosmetics Crema 50+ 236Ml</c:v>
                </c:pt>
                <c:pt idx="6">
                  <c:v>Edgewell Hawaiian Tropic Sheer Touch Sunscreen Adults Cosmetics Crema 50 120Ml</c:v>
                </c:pt>
                <c:pt idx="7">
                  <c:v>Edgewell Hawaiian Tropic Island Sport Sunscreen Adults Sport Liquido 50 240Ml</c:v>
                </c:pt>
                <c:pt idx="8">
                  <c:v>Edgewell Banana Boat Dry Balance Sunscreen Adults Sport Spray Liquido 50 220Ml</c:v>
                </c:pt>
                <c:pt idx="9">
                  <c:v>Edgewell Hawaiian Tropic Island Sport Sunscreen Adults Sport Spray Liquido 50 220Ml</c:v>
                </c:pt>
                <c:pt idx="10">
                  <c:v>Edgewell Banana Boat Banded Pack Banded Pack 2X Sunscreen Multi 50+ 236Ml</c:v>
                </c:pt>
                <c:pt idx="11">
                  <c:v>Edgewell Banana Boat Aqua Protect Sunscreen Adults Sport Crema 50+ 236Ml</c:v>
                </c:pt>
                <c:pt idx="12">
                  <c:v>Edgewell Banana Boat After Sun After Sun Adults Cosmetics Gel 0 - 5 230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06.84</c:v>
                </c:pt>
                <c:pt idx="1">
                  <c:v>310.2</c:v>
                </c:pt>
                <c:pt idx="2">
                  <c:v>317.39</c:v>
                </c:pt>
                <c:pt idx="3">
                  <c:v>327.07</c:v>
                </c:pt>
                <c:pt idx="4">
                  <c:v>305.74</c:v>
                </c:pt>
                <c:pt idx="5">
                  <c:v>290.72</c:v>
                </c:pt>
                <c:pt idx="6">
                  <c:v>189.32</c:v>
                </c:pt>
                <c:pt idx="7">
                  <c:v>308.69</c:v>
                </c:pt>
                <c:pt idx="8">
                  <c:v>316.05</c:v>
                </c:pt>
                <c:pt idx="9">
                  <c:v>334.03</c:v>
                </c:pt>
                <c:pt idx="10">
                  <c:v>269.13</c:v>
                </c:pt>
                <c:pt idx="11">
                  <c:v>303.99</c:v>
                </c:pt>
                <c:pt idx="12">
                  <c:v>149.69</c:v>
                </c:pt>
                <c:pt idx="13">
                  <c:v>325.13</c:v>
                </c:pt>
                <c:pt idx="14">
                  <c:v>287.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dLblPos val="t"/>
              <c:showLegendKey val="0"/>
              <c:showVal val="1"/>
              <c:showCatName val="0"/>
              <c:showSerName val="0"/>
              <c:showPercent val="0"/>
              <c:showBubbleSize val="0"/>
            </c:dLbl>
            <c:dLbl>
              <c:idx val="1"/>
              <c:tx>
                <c:rich>
                  <a:bodyPr/>
                  <a:lstStyle/>
                  <a:p>
                    <a:r>
                      <a:t>339.06</a:t>
                    </a:r>
                  </a:p>
                </c:rich>
              </c:tx>
              <c:dLblPos val="t"/>
              <c:showLegendKey val="0"/>
              <c:showVal val="1"/>
              <c:showCatName val="0"/>
              <c:showSerName val="0"/>
              <c:showPercent val="0"/>
              <c:showBubbleSize val="0"/>
            </c:dLbl>
            <c:dLbl>
              <c:idx val="2"/>
              <c:tx>
                <c:rich>
                  <a:bodyPr/>
                  <a:lstStyle/>
                  <a:p>
                    <a:r>
                      <a:t>330.54</a:t>
                    </a:r>
                  </a:p>
                </c:rich>
              </c:tx>
              <c:dLblPos val="t"/>
              <c:showLegendKey val="0"/>
              <c:showVal val="1"/>
              <c:showCatName val="0"/>
              <c:showSerName val="0"/>
              <c:showPercent val="0"/>
              <c:showBubbleSize val="0"/>
            </c:dLbl>
            <c:dLbl>
              <c:idx val="3"/>
              <c:tx>
                <c:rich>
                  <a:bodyPr/>
                  <a:lstStyle/>
                  <a:p>
                    <a:r>
                      <a:t>91.75</a:t>
                    </a:r>
                  </a:p>
                </c:rich>
              </c:tx>
              <c:dLblPos val="t"/>
              <c:showLegendKey val="0"/>
              <c:showVal val="1"/>
              <c:showCatName val="0"/>
              <c:showSerName val="0"/>
              <c:showPercent val="0"/>
              <c:showBubbleSize val="0"/>
            </c:dLbl>
            <c:dLbl>
              <c:idx val="4"/>
              <c:tx>
                <c:rich>
                  <a:bodyPr/>
                  <a:lstStyle/>
                  <a:p>
                    <a:r>
                      <a:t>325.31</a:t>
                    </a:r>
                  </a:p>
                </c:rich>
              </c:tx>
              <c:dLblPos val="t"/>
              <c:showLegendKey val="0"/>
              <c:showVal val="1"/>
              <c:showCatName val="0"/>
              <c:showSerName val="0"/>
              <c:showPercent val="0"/>
              <c:showBubbleSize val="0"/>
            </c:dLbl>
            <c:dLbl>
              <c:idx val="5"/>
              <c:tx>
                <c:rich>
                  <a:bodyPr/>
                  <a:lstStyle/>
                  <a:p>
                    <a:r>
                      <a:t>305.33</a:t>
                    </a:r>
                  </a:p>
                </c:rich>
              </c:tx>
              <c:dLblPos val="t"/>
              <c:showLegendKey val="0"/>
              <c:showVal val="1"/>
              <c:showCatName val="0"/>
              <c:showSerName val="0"/>
              <c:showPercent val="0"/>
              <c:showBubbleSize val="0"/>
            </c:dLbl>
            <c:dLbl>
              <c:idx val="6"/>
              <c:tx>
                <c:rich>
                  <a:bodyPr/>
                  <a:lstStyle/>
                  <a:p>
                    <a:r>
                      <a:t>347.12</a:t>
                    </a:r>
                  </a:p>
                </c:rich>
              </c:tx>
              <c:dLblPos val="t"/>
              <c:showLegendKey val="0"/>
              <c:showVal val="1"/>
              <c:showCatName val="0"/>
              <c:showSerName val="0"/>
              <c:showPercent val="0"/>
              <c:showBubbleSize val="0"/>
            </c:dLbl>
            <c:dLbl>
              <c:idx val="7"/>
              <c:tx>
                <c:rich>
                  <a:bodyPr/>
                  <a:lstStyle/>
                  <a:p>
                    <a:r>
                      <a:t>330.0</a:t>
                    </a:r>
                  </a:p>
                </c:rich>
              </c:tx>
              <c:dLblPos val="t"/>
              <c:showLegendKey val="0"/>
              <c:showVal val="1"/>
              <c:showCatName val="0"/>
              <c:showSerName val="0"/>
              <c:showPercent val="0"/>
              <c:showBubbleSize val="0"/>
            </c:dLbl>
            <c:dLbl>
              <c:idx val="8"/>
              <c:tx>
                <c:rich>
                  <a:bodyPr/>
                  <a:lstStyle/>
                  <a:p>
                    <a:r>
                      <a:t>329.19</a:t>
                    </a:r>
                  </a:p>
                </c:rich>
              </c:tx>
              <c:dLblPos val="t"/>
              <c:showLegendKey val="0"/>
              <c:showVal val="1"/>
              <c:showCatName val="0"/>
              <c:showSerName val="0"/>
              <c:showPercent val="0"/>
              <c:showBubbleSize val="0"/>
            </c:dLbl>
            <c:dLbl>
              <c:idx val="9"/>
              <c:tx>
                <c:rich>
                  <a:bodyPr/>
                  <a:lstStyle/>
                  <a:p>
                    <a:r>
                      <a:t>348.86</a:t>
                    </a:r>
                  </a:p>
                </c:rich>
              </c:tx>
              <c:dLblPos val="t"/>
              <c:showLegendKey val="0"/>
              <c:showVal val="1"/>
              <c:showCatName val="0"/>
              <c:showSerName val="0"/>
              <c:showPercent val="0"/>
              <c:showBubbleSize val="0"/>
            </c:dLbl>
            <c:dLbl>
              <c:idx val="10"/>
              <c:tx>
                <c:rich>
                  <a:bodyPr/>
                  <a:lstStyle/>
                  <a:p>
                    <a:r>
                      <a:t>159.67</a:t>
                    </a:r>
                  </a:p>
                </c:rich>
              </c:tx>
              <c:dLblPos val="t"/>
              <c:showLegendKey val="0"/>
              <c:showVal val="1"/>
              <c:showCatName val="0"/>
              <c:showSerName val="0"/>
              <c:showPercent val="0"/>
              <c:showBubbleSize val="0"/>
            </c:dLbl>
            <c:dLbl>
              <c:idx val="11"/>
              <c:tx>
                <c:rich>
                  <a:bodyPr/>
                  <a:lstStyle/>
                  <a:p>
                    <a:r>
                      <a:t>359.99</a:t>
                    </a:r>
                  </a:p>
                </c:rich>
              </c:tx>
              <c:dLblPos val="t"/>
              <c:showLegendKey val="0"/>
              <c:showVal val="1"/>
              <c:showCatName val="0"/>
              <c:showSerName val="0"/>
              <c:showPercent val="0"/>
              <c:showBubbleSize val="0"/>
            </c:dLbl>
            <c:dLbl>
              <c:idx val="12"/>
              <c:tx>
                <c:rich>
                  <a:bodyPr/>
                  <a:lstStyle/>
                  <a:p>
                    <a:r>
                      <a:t>413.7</a:t>
                    </a:r>
                  </a:p>
                </c:rich>
              </c:tx>
              <c:dLblPos val="t"/>
              <c:showLegendKey val="0"/>
              <c:showVal val="1"/>
              <c:showCatName val="0"/>
              <c:showSerName val="0"/>
              <c:showPercent val="0"/>
              <c:showBubbleSize val="0"/>
            </c:dLbl>
            <c:dLbl>
              <c:idx val="13"/>
              <c:tx>
                <c:rich>
                  <a:bodyPr/>
                  <a:lstStyle/>
                  <a:p>
                    <a:r>
                      <a:t>277.66</a:t>
                    </a:r>
                  </a:p>
                </c:rich>
              </c:tx>
              <c:dLblPos val="t"/>
              <c:showLegendKey val="0"/>
              <c:showVal val="1"/>
              <c:showCatName val="0"/>
              <c:showSerName val="0"/>
              <c:showPercent val="0"/>
              <c:showBubbleSize val="0"/>
            </c:dLbl>
            <c:dLbl>
              <c:idx val="14"/>
              <c:tx>
                <c:rich>
                  <a:bodyPr/>
                  <a:lstStyle/>
                  <a:p>
                    <a:r>
                      <a:t>358.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qua Protect Sunscreen Adults Cosmetics Spray Liquido 50+ 170Ml</c:v>
                </c:pt>
                <c:pt idx="2">
                  <c:v>Edgewell Banana Boat Advanced Protection Sunscreen Adults Cosmetics Liquido 50+ 240Ml</c:v>
                </c:pt>
                <c:pt idx="3">
                  <c:v>Edgewell Banana Boat Advanced Protection Sunscreen Adults Cosmetics Liquido 50+ 60Ml</c:v>
                </c:pt>
                <c:pt idx="4">
                  <c:v>Edgewell Hawaiian Tropic Ozono Sunscreen Adults Cosmetics Spray Liquido 50+ 180Ml</c:v>
                </c:pt>
                <c:pt idx="5">
                  <c:v>Edgewell Hawaiian Tropic Other Sunscreen Adults Cosmetics Crema 50+ 240Ml</c:v>
                </c:pt>
                <c:pt idx="6">
                  <c:v>Edgewell Hawaiian Tropic Island Sport Sunscreen Adults Sport Spray Liquido 50 220Ml</c:v>
                </c:pt>
                <c:pt idx="7">
                  <c:v>Edgewell Hawaiian Tropic Island Sport Sunscreen Adults Sport Liquido 50 240Ml</c:v>
                </c:pt>
                <c:pt idx="8">
                  <c:v>Edgewell Banana Boat Dry Balance Sunscreen Adults Sport Spray Liquido 50 220Ml</c:v>
                </c:pt>
                <c:pt idx="9">
                  <c:v>Edgewell Banana Boat Aqua Protect Sunscreen Adults Sport Crema 50+ 236Ml</c:v>
                </c:pt>
                <c:pt idx="10">
                  <c:v>Edgewell Banana Boat After Sun After Sun Adults Cosmetics Gel 0 - 5 230Ml</c:v>
                </c:pt>
                <c:pt idx="11">
                  <c:v>Edgewell Banana Boat Mineral Sunscreen Kids Cosmetics Locion 50 180Ml</c:v>
                </c:pt>
                <c:pt idx="12">
                  <c:v>Edgewell Banana Boat Banded Pack Banded Pack 2X Sunscreen Multi 50+ 170Ml</c:v>
                </c:pt>
                <c:pt idx="13">
                  <c:v>Edgewell Hawaiian Tropic Tanning Tanning Adults Cosmetics Spray Aceite 0 - 5 240Ml</c:v>
                </c:pt>
                <c:pt idx="14">
                  <c:v>Edgewell Banana Boat Mineral Sunscreen Adults Sport Locion 50 180Ml</c:v>
                </c:pt>
              </c:strCache>
            </c:strRef>
          </c:cat>
          <c:val>
            <c:numRef>
              <c:f>Sheet1!$B$2:$B$16</c:f>
              <c:numCache>
                <c:formatCode>General</c:formatCode>
                <c:ptCount val="15"/>
                <c:pt idx="0">
                  <c:v>318.53</c:v>
                </c:pt>
                <c:pt idx="1">
                  <c:v>339.06</c:v>
                </c:pt>
                <c:pt idx="2">
                  <c:v>330.54</c:v>
                </c:pt>
                <c:pt idx="3">
                  <c:v>91.75</c:v>
                </c:pt>
                <c:pt idx="4">
                  <c:v>325.31</c:v>
                </c:pt>
                <c:pt idx="5">
                  <c:v>305.33</c:v>
                </c:pt>
                <c:pt idx="6">
                  <c:v>347.12</c:v>
                </c:pt>
                <c:pt idx="7">
                  <c:v>330.0</c:v>
                </c:pt>
                <c:pt idx="8">
                  <c:v>329.19</c:v>
                </c:pt>
                <c:pt idx="9">
                  <c:v>348.86</c:v>
                </c:pt>
                <c:pt idx="10">
                  <c:v>159.67</c:v>
                </c:pt>
                <c:pt idx="11">
                  <c:v>359.99</c:v>
                </c:pt>
                <c:pt idx="12">
                  <c:v>413.7</c:v>
                </c:pt>
                <c:pt idx="13">
                  <c:v>277.66</c:v>
                </c:pt>
                <c:pt idx="14">
                  <c:v>35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8.0</a:t>
                    </a:r>
                  </a:p>
                </c:rich>
              </c:tx>
              <c:dLblPos val="t"/>
              <c:showLegendKey val="0"/>
              <c:showVal val="1"/>
              <c:showCatName val="0"/>
              <c:showSerName val="0"/>
              <c:showPercent val="0"/>
              <c:showBubbleSize val="0"/>
            </c:dLbl>
            <c:dLbl>
              <c:idx val="2"/>
              <c:tx>
                <c:rich>
                  <a:bodyPr/>
                  <a:lstStyle/>
                  <a:p>
                    <a:r>
                      <a:t>70.09</a:t>
                    </a:r>
                  </a:p>
                </c:rich>
              </c:tx>
              <c:dLblPos val="t"/>
              <c:showLegendKey val="0"/>
              <c:showVal val="1"/>
              <c:showCatName val="0"/>
              <c:showSerName val="0"/>
              <c:showPercent val="0"/>
              <c:showBubbleSize val="0"/>
            </c:dLbl>
            <c:dLbl>
              <c:idx val="3"/>
              <c:tx>
                <c:rich>
                  <a:bodyPr/>
                  <a:lstStyle/>
                  <a:p>
                    <a:r>
                      <a:t>220.0</a:t>
                    </a:r>
                  </a:p>
                </c:rich>
              </c:tx>
              <c:dLblPos val="t"/>
              <c:showLegendKey val="0"/>
              <c:showVal val="1"/>
              <c:showCatName val="0"/>
              <c:showSerName val="0"/>
              <c:showPercent val="0"/>
              <c:showBubbleSize val="0"/>
            </c:dLbl>
            <c:dLbl>
              <c:idx val="4"/>
              <c:tx>
                <c:rich>
                  <a:bodyPr/>
                  <a:lstStyle/>
                  <a:p>
                    <a:r>
                      <a:t>96.8</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34.59</a:t>
                    </a:r>
                  </a:p>
                </c:rich>
              </c:tx>
              <c:dLblPos val="t"/>
              <c:showLegendKey val="0"/>
              <c:showVal val="1"/>
              <c:showCatName val="0"/>
              <c:showSerName val="0"/>
              <c:showPercent val="0"/>
              <c:showBubbleSize val="0"/>
            </c:dLbl>
            <c:dLbl>
              <c:idx val="7"/>
              <c:tx>
                <c:rich>
                  <a:bodyPr/>
                  <a:lstStyle/>
                  <a:p>
                    <a:r>
                      <a:t>125.0</a:t>
                    </a:r>
                  </a:p>
                </c:rich>
              </c:tx>
              <c:dLblPos val="t"/>
              <c:showLegendKey val="0"/>
              <c:showVal val="1"/>
              <c:showCatName val="0"/>
              <c:showSerName val="0"/>
              <c:showPercent val="0"/>
              <c:showBubbleSize val="0"/>
            </c:dLbl>
            <c:dLbl>
              <c:idx val="8"/>
              <c:tx>
                <c:rich>
                  <a:bodyPr/>
                  <a:lstStyle/>
                  <a:p>
                    <a:r>
                      <a:t>205.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Other Sunscreen Adults Cosmetics Crema 50+ 240Ml</c:v>
                </c:pt>
                <c:pt idx="1">
                  <c:v>Edgewell Hawaiian Tropic Baby Sunscreen Baby Cosmetics Crema 50+ 240Ml</c:v>
                </c:pt>
                <c:pt idx="2">
                  <c:v>Edgewell Hawaiian Tropic Island Sport Sunscreen Adults Sport Liquido 50 60Ml</c:v>
                </c:pt>
                <c:pt idx="3">
                  <c:v>Edgewell Hawaiian Tropic Island Sport Sunscreen Adults Sport Spray Liquido 50 220Ml</c:v>
                </c:pt>
                <c:pt idx="4">
                  <c:v>Edgewell Banana Boat Advanced Protection Sunscreen Adults Cosmetics Liquido 50+ 60Ml</c:v>
                </c:pt>
                <c:pt idx="5">
                  <c:v>Edgewell Hawaiian Tropic Sheer Touch Sunscreen Adults Cosmetics Liquido 30 - 49 60Ml</c:v>
                </c:pt>
                <c:pt idx="6">
                  <c:v>Edgewell Banana Boat Mineral Sunscreen Adults Cosmetics Locion 50 60Ml</c:v>
                </c:pt>
                <c:pt idx="7">
                  <c:v>Edgewell Banana Boat Gentle Protect Sunscreen Adults Cosmetics Locion 50 180Ml</c:v>
                </c:pt>
                <c:pt idx="8">
                  <c:v>Edgewell Banana Boat Banded Pack Banded Pack 2X Sunscreen Multi 50+ 170Ml</c:v>
                </c:pt>
              </c:strCache>
            </c:strRef>
          </c:cat>
          <c:val>
            <c:numRef>
              <c:f>Sheet1!$B$2:$B$10</c:f>
              <c:numCache>
                <c:formatCode>General</c:formatCode>
                <c:ptCount val="9"/>
                <c:pt idx="0">
                  <c:v>240.0</c:v>
                </c:pt>
                <c:pt idx="1">
                  <c:v>258.0</c:v>
                </c:pt>
                <c:pt idx="2">
                  <c:v>70.09</c:v>
                </c:pt>
                <c:pt idx="3">
                  <c:v>220.0</c:v>
                </c:pt>
                <c:pt idx="4">
                  <c:v>96.8</c:v>
                </c:pt>
                <c:pt idx="5">
                  <c:v>133.0</c:v>
                </c:pt>
                <c:pt idx="6">
                  <c:v>234.59</c:v>
                </c:pt>
                <c:pt idx="7">
                  <c:v>125.0</c:v>
                </c:pt>
                <c:pt idx="8">
                  <c:v>20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dLblPos val="t"/>
              <c:showLegendKey val="0"/>
              <c:showVal val="1"/>
              <c:showCatName val="0"/>
              <c:showSerName val="0"/>
              <c:showPercent val="0"/>
              <c:showBubbleSize val="0"/>
            </c:dLbl>
            <c:dLbl>
              <c:idx val="1"/>
              <c:tx>
                <c:rich>
                  <a:bodyPr/>
                  <a:lstStyle/>
                  <a:p>
                    <a:r>
                      <a:t>101.15</a:t>
                    </a:r>
                  </a:p>
                </c:rich>
              </c:tx>
              <c:dLblPos val="t"/>
              <c:showLegendKey val="0"/>
              <c:showVal val="1"/>
              <c:showCatName val="0"/>
              <c:showSerName val="0"/>
              <c:showPercent val="0"/>
              <c:showBubbleSize val="0"/>
            </c:dLbl>
            <c:dLbl>
              <c:idx val="2"/>
              <c:tx>
                <c:rich>
                  <a:bodyPr/>
                  <a:lstStyle/>
                  <a:p>
                    <a:r>
                      <a:t>330.69</a:t>
                    </a:r>
                  </a:p>
                </c:rich>
              </c:tx>
              <c:dLblPos val="t"/>
              <c:showLegendKey val="0"/>
              <c:showVal val="1"/>
              <c:showCatName val="0"/>
              <c:showSerName val="0"/>
              <c:showPercent val="0"/>
              <c:showBubbleSize val="0"/>
            </c:dLbl>
            <c:dLbl>
              <c:idx val="3"/>
              <c:tx>
                <c:rich>
                  <a:bodyPr/>
                  <a:lstStyle/>
                  <a:p>
                    <a:r>
                      <a:t>298.88</a:t>
                    </a:r>
                  </a:p>
                </c:rich>
              </c:tx>
              <c:dLblPos val="t"/>
              <c:showLegendKey val="0"/>
              <c:showVal val="1"/>
              <c:showCatName val="0"/>
              <c:showSerName val="0"/>
              <c:showPercent val="0"/>
              <c:showBubbleSize val="0"/>
            </c:dLbl>
            <c:dLbl>
              <c:idx val="4"/>
              <c:tx>
                <c:rich>
                  <a:bodyPr/>
                  <a:lstStyle/>
                  <a:p>
                    <a:r>
                      <a:t>312.87</a:t>
                    </a:r>
                  </a:p>
                </c:rich>
              </c:tx>
              <c:dLblPos val="t"/>
              <c:showLegendKey val="0"/>
              <c:showVal val="1"/>
              <c:showCatName val="0"/>
              <c:showSerName val="0"/>
              <c:showPercent val="0"/>
              <c:showBubbleSize val="0"/>
            </c:dLbl>
            <c:dLbl>
              <c:idx val="5"/>
              <c:tx>
                <c:rich>
                  <a:bodyPr/>
                  <a:lstStyle/>
                  <a:p>
                    <a:r>
                      <a:t>312.14</a:t>
                    </a:r>
                  </a:p>
                </c:rich>
              </c:tx>
              <c:dLblPos val="t"/>
              <c:showLegendKey val="0"/>
              <c:showVal val="1"/>
              <c:showCatName val="0"/>
              <c:showSerName val="0"/>
              <c:showPercent val="0"/>
              <c:showBubbleSize val="0"/>
            </c:dLbl>
            <c:dLbl>
              <c:idx val="6"/>
              <c:tx>
                <c:rich>
                  <a:bodyPr/>
                  <a:lstStyle/>
                  <a:p>
                    <a:r>
                      <a:t>290.34</a:t>
                    </a:r>
                  </a:p>
                </c:rich>
              </c:tx>
              <c:dLblPos val="t"/>
              <c:showLegendKey val="0"/>
              <c:showVal val="1"/>
              <c:showCatName val="0"/>
              <c:showSerName val="0"/>
              <c:showPercent val="0"/>
              <c:showBubbleSize val="0"/>
            </c:dLbl>
            <c:dLbl>
              <c:idx val="7"/>
              <c:tx>
                <c:rich>
                  <a:bodyPr/>
                  <a:lstStyle/>
                  <a:p>
                    <a:r>
                      <a:t>189.54</a:t>
                    </a:r>
                  </a:p>
                </c:rich>
              </c:tx>
              <c:dLblPos val="t"/>
              <c:showLegendKey val="0"/>
              <c:showVal val="1"/>
              <c:showCatName val="0"/>
              <c:showSerName val="0"/>
              <c:showPercent val="0"/>
              <c:showBubbleSize val="0"/>
            </c:dLbl>
            <c:dLbl>
              <c:idx val="8"/>
              <c:tx>
                <c:rich>
                  <a:bodyPr/>
                  <a:lstStyle/>
                  <a:p>
                    <a:r>
                      <a:t>300.48</a:t>
                    </a:r>
                  </a:p>
                </c:rich>
              </c:tx>
              <c:dLblPos val="t"/>
              <c:showLegendKey val="0"/>
              <c:showVal val="1"/>
              <c:showCatName val="0"/>
              <c:showSerName val="0"/>
              <c:showPercent val="0"/>
              <c:showBubbleSize val="0"/>
            </c:dLbl>
            <c:dLbl>
              <c:idx val="9"/>
              <c:tx>
                <c:rich>
                  <a:bodyPr/>
                  <a:lstStyle/>
                  <a:p>
                    <a:r>
                      <a:t>305.29</a:t>
                    </a:r>
                  </a:p>
                </c:rich>
              </c:tx>
              <c:dLblPos val="t"/>
              <c:showLegendKey val="0"/>
              <c:showVal val="1"/>
              <c:showCatName val="0"/>
              <c:showSerName val="0"/>
              <c:showPercent val="0"/>
              <c:showBubbleSize val="0"/>
            </c:dLbl>
            <c:dLbl>
              <c:idx val="10"/>
              <c:tx>
                <c:rich>
                  <a:bodyPr/>
                  <a:lstStyle/>
                  <a:p>
                    <a:r>
                      <a:t>311.93</a:t>
                    </a:r>
                  </a:p>
                </c:rich>
              </c:tx>
              <c:dLblPos val="t"/>
              <c:showLegendKey val="0"/>
              <c:showVal val="1"/>
              <c:showCatName val="0"/>
              <c:showSerName val="0"/>
              <c:showPercent val="0"/>
              <c:showBubbleSize val="0"/>
            </c:dLbl>
            <c:dLbl>
              <c:idx val="11"/>
              <c:tx>
                <c:rich>
                  <a:bodyPr/>
                  <a:lstStyle/>
                  <a:p>
                    <a:r>
                      <a:t>324.32</a:t>
                    </a:r>
                  </a:p>
                </c:rich>
              </c:tx>
              <c:dLblPos val="t"/>
              <c:showLegendKey val="0"/>
              <c:showVal val="1"/>
              <c:showCatName val="0"/>
              <c:showSerName val="0"/>
              <c:showPercent val="0"/>
              <c:showBubbleSize val="0"/>
            </c:dLbl>
            <c:dLbl>
              <c:idx val="12"/>
              <c:tx>
                <c:rich>
                  <a:bodyPr/>
                  <a:lstStyle/>
                  <a:p>
                    <a:r>
                      <a:t>268.26</a:t>
                    </a:r>
                  </a:p>
                </c:rich>
              </c:tx>
              <c:dLblPos val="t"/>
              <c:showLegendKey val="0"/>
              <c:showVal val="1"/>
              <c:showCatName val="0"/>
              <c:showSerName val="0"/>
              <c:showPercent val="0"/>
              <c:showBubbleSize val="0"/>
            </c:dLbl>
            <c:dLbl>
              <c:idx val="13"/>
              <c:tx>
                <c:rich>
                  <a:bodyPr/>
                  <a:lstStyle/>
                  <a:p>
                    <a:r>
                      <a:t>281.61</a:t>
                    </a:r>
                  </a:p>
                </c:rich>
              </c:tx>
              <c:dLblPos val="t"/>
              <c:showLegendKey val="0"/>
              <c:showVal val="1"/>
              <c:showCatName val="0"/>
              <c:showSerName val="0"/>
              <c:showPercent val="0"/>
              <c:showBubbleSize val="0"/>
            </c:dLbl>
            <c:dLbl>
              <c:idx val="14"/>
              <c:tx>
                <c:rich>
                  <a:bodyPr/>
                  <a:lstStyle/>
                  <a:p>
                    <a:r>
                      <a:t>32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Ozono Sunscreen Adults Cosmetics Spray Liquido 50+ 180Ml</c:v>
                </c:pt>
                <c:pt idx="3">
                  <c:v>Edgewell Banana Boat Advanced Protection Sunscreen Adults Cosmetics Liquido 50+ 240Ml</c:v>
                </c:pt>
                <c:pt idx="4">
                  <c:v>Edgewell Banana Boat Aqua Protect Sunscreen Adults Cosmetics Spray Liquido 50+ 170Ml</c:v>
                </c:pt>
                <c:pt idx="5">
                  <c:v>Edgewell Hawaiian Tropic Other Sunscreen Adults Cosmetics Crema 50+ 240Ml</c:v>
                </c:pt>
                <c:pt idx="6">
                  <c:v>Edgewell Banana Boat Aqua Protect Sunscreen Adults Cosmetics Crema 50+ 236Ml</c:v>
                </c:pt>
                <c:pt idx="7">
                  <c:v>Edgewell Hawaiian Tropic Sheer Touch Sunscreen Adults Cosmetics Crema 50 120Ml</c:v>
                </c:pt>
                <c:pt idx="8">
                  <c:v>Edgewell Hawaiian Tropic Sheer Touch Sunscreen Adults Cosmetics Crema 30 - 49 240Ml</c:v>
                </c:pt>
                <c:pt idx="9">
                  <c:v>Edgewell Hawaiian Tropic Island Sport Sunscreen Adults Sport Liquido 50 240Ml</c:v>
                </c:pt>
                <c:pt idx="10">
                  <c:v>Edgewell Banana Boat Dry Balance Sunscreen Adults Sport Spray Liquido 50 220Ml</c:v>
                </c:pt>
                <c:pt idx="11">
                  <c:v>Edgewell Hawaiian Tropic Island Sport Sunscreen Adults Sport Spray Liquido 50 220Ml</c:v>
                </c:pt>
                <c:pt idx="12">
                  <c:v>Edgewell Banana Boat Banded Pack Banded Pack 2X Sunscreen Multi 50+ 236Ml</c:v>
                </c:pt>
                <c:pt idx="13">
                  <c:v>Edgewell Banana Boat Aqua Protect Sunscreen Adults Sport Crema 50+ 236Ml</c:v>
                </c:pt>
                <c:pt idx="14">
                  <c:v>Edgewell Banana Boat Banded Pack Banded Pack 2X Sunscreen Multi 50+ 170Ml</c:v>
                </c:pt>
              </c:strCache>
            </c:strRef>
          </c:cat>
          <c:val>
            <c:numRef>
              <c:f>Sheet1!$B$2:$B$16</c:f>
              <c:numCache>
                <c:formatCode>General</c:formatCode>
                <c:ptCount val="15"/>
                <c:pt idx="0">
                  <c:v>305.12</c:v>
                </c:pt>
                <c:pt idx="1">
                  <c:v>101.15</c:v>
                </c:pt>
                <c:pt idx="2">
                  <c:v>330.69</c:v>
                </c:pt>
                <c:pt idx="3">
                  <c:v>298.88</c:v>
                </c:pt>
                <c:pt idx="4">
                  <c:v>312.87</c:v>
                </c:pt>
                <c:pt idx="5">
                  <c:v>312.14</c:v>
                </c:pt>
                <c:pt idx="6">
                  <c:v>290.34</c:v>
                </c:pt>
                <c:pt idx="7">
                  <c:v>189.54</c:v>
                </c:pt>
                <c:pt idx="8">
                  <c:v>300.48</c:v>
                </c:pt>
                <c:pt idx="9">
                  <c:v>305.29</c:v>
                </c:pt>
                <c:pt idx="10">
                  <c:v>311.93</c:v>
                </c:pt>
                <c:pt idx="11">
                  <c:v>324.32</c:v>
                </c:pt>
                <c:pt idx="12">
                  <c:v>268.26</c:v>
                </c:pt>
                <c:pt idx="13">
                  <c:v>281.61</c:v>
                </c:pt>
                <c:pt idx="14">
                  <c:v>32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9</a:t>
                    </a:r>
                  </a:p>
                </c:rich>
              </c:tx>
              <c:dLblPos val="t"/>
              <c:showLegendKey val="0"/>
              <c:showVal val="1"/>
              <c:showCatName val="0"/>
              <c:showSerName val="0"/>
              <c:showPercent val="0"/>
              <c:showBubbleSize val="0"/>
            </c:dLbl>
            <c:dLbl>
              <c:idx val="1"/>
              <c:tx>
                <c:rich>
                  <a:bodyPr/>
                  <a:lstStyle/>
                  <a:p>
                    <a:r>
                      <a:t>308.6</a:t>
                    </a:r>
                  </a:p>
                </c:rich>
              </c:tx>
              <c:dLblPos val="t"/>
              <c:showLegendKey val="0"/>
              <c:showVal val="1"/>
              <c:showCatName val="0"/>
              <c:showSerName val="0"/>
              <c:showPercent val="0"/>
              <c:showBubbleSize val="0"/>
            </c:dLbl>
            <c:dLbl>
              <c:idx val="2"/>
              <c:tx>
                <c:rich>
                  <a:bodyPr/>
                  <a:lstStyle/>
                  <a:p>
                    <a:r>
                      <a:t>281.45</a:t>
                    </a:r>
                  </a:p>
                </c:rich>
              </c:tx>
              <c:dLblPos val="t"/>
              <c:showLegendKey val="0"/>
              <c:showVal val="1"/>
              <c:showCatName val="0"/>
              <c:showSerName val="0"/>
              <c:showPercent val="0"/>
              <c:showBubbleSize val="0"/>
            </c:dLbl>
            <c:dLbl>
              <c:idx val="3"/>
              <c:tx>
                <c:rich>
                  <a:bodyPr/>
                  <a:lstStyle/>
                  <a:p>
                    <a:r>
                      <a:t>294.17</a:t>
                    </a:r>
                  </a:p>
                </c:rich>
              </c:tx>
              <c:dLblPos val="t"/>
              <c:showLegendKey val="0"/>
              <c:showVal val="1"/>
              <c:showCatName val="0"/>
              <c:showSerName val="0"/>
              <c:showPercent val="0"/>
              <c:showBubbleSize val="0"/>
            </c:dLbl>
            <c:dLbl>
              <c:idx val="4"/>
              <c:tx>
                <c:rich>
                  <a:bodyPr/>
                  <a:lstStyle/>
                  <a:p>
                    <a:r>
                      <a:t>289.72</a:t>
                    </a:r>
                  </a:p>
                </c:rich>
              </c:tx>
              <c:dLblPos val="t"/>
              <c:showLegendKey val="0"/>
              <c:showVal val="1"/>
              <c:showCatName val="0"/>
              <c:showSerName val="0"/>
              <c:showPercent val="0"/>
              <c:showBubbleSize val="0"/>
            </c:dLbl>
            <c:dLbl>
              <c:idx val="5"/>
              <c:tx>
                <c:rich>
                  <a:bodyPr/>
                  <a:lstStyle/>
                  <a:p>
                    <a:r>
                      <a:t>268.09</a:t>
                    </a:r>
                  </a:p>
                </c:rich>
              </c:tx>
              <c:dLblPos val="t"/>
              <c:showLegendKey val="0"/>
              <c:showVal val="1"/>
              <c:showCatName val="0"/>
              <c:showSerName val="0"/>
              <c:showPercent val="0"/>
              <c:showBubbleSize val="0"/>
            </c:dLbl>
            <c:dLbl>
              <c:idx val="6"/>
              <c:tx>
                <c:rich>
                  <a:bodyPr/>
                  <a:lstStyle/>
                  <a:p>
                    <a:r>
                      <a:t>286.0</a:t>
                    </a:r>
                  </a:p>
                </c:rich>
              </c:tx>
              <c:dLblPos val="t"/>
              <c:showLegendKey val="0"/>
              <c:showVal val="1"/>
              <c:showCatName val="0"/>
              <c:showSerName val="0"/>
              <c:showPercent val="0"/>
              <c:showBubbleSize val="0"/>
            </c:dLbl>
            <c:dLbl>
              <c:idx val="7"/>
              <c:tx>
                <c:rich>
                  <a:bodyPr/>
                  <a:lstStyle/>
                  <a:p>
                    <a:r>
                      <a:t>305.0</a:t>
                    </a:r>
                  </a:p>
                </c:rich>
              </c:tx>
              <c:dLblPos val="t"/>
              <c:showLegendKey val="0"/>
              <c:showVal val="1"/>
              <c:showCatName val="0"/>
              <c:showSerName val="0"/>
              <c:showPercent val="0"/>
              <c:showBubbleSize val="0"/>
            </c:dLbl>
            <c:dLbl>
              <c:idx val="8"/>
              <c:tx>
                <c:rich>
                  <a:bodyPr/>
                  <a:lstStyle/>
                  <a:p>
                    <a:r>
                      <a:t>312.34</a:t>
                    </a:r>
                  </a:p>
                </c:rich>
              </c:tx>
              <c:dLblPos val="t"/>
              <c:showLegendKey val="0"/>
              <c:showVal val="1"/>
              <c:showCatName val="0"/>
              <c:showSerName val="0"/>
              <c:showPercent val="0"/>
              <c:showBubbleSize val="0"/>
            </c:dLbl>
            <c:dLbl>
              <c:idx val="9"/>
              <c:tx>
                <c:rich>
                  <a:bodyPr/>
                  <a:lstStyle/>
                  <a:p>
                    <a:r>
                      <a:t>254.7</a:t>
                    </a:r>
                  </a:p>
                </c:rich>
              </c:tx>
              <c:dLblPos val="t"/>
              <c:showLegendKey val="0"/>
              <c:showVal val="1"/>
              <c:showCatName val="0"/>
              <c:showSerName val="0"/>
              <c:showPercent val="0"/>
              <c:showBubbleSize val="0"/>
            </c:dLbl>
            <c:dLbl>
              <c:idx val="10"/>
              <c:tx>
                <c:rich>
                  <a:bodyPr/>
                  <a:lstStyle/>
                  <a:p>
                    <a:r>
                      <a:t>326.42</a:t>
                    </a:r>
                  </a:p>
                </c:rich>
              </c:tx>
              <c:dLblPos val="t"/>
              <c:showLegendKey val="0"/>
              <c:showVal val="1"/>
              <c:showCatName val="0"/>
              <c:showSerName val="0"/>
              <c:showPercent val="0"/>
              <c:showBubbleSize val="0"/>
            </c:dLbl>
            <c:dLbl>
              <c:idx val="11"/>
              <c:tx>
                <c:rich>
                  <a:bodyPr/>
                  <a:lstStyle/>
                  <a:p>
                    <a:r>
                      <a:t>278.07</a:t>
                    </a:r>
                  </a:p>
                </c:rich>
              </c:tx>
              <c:dLblPos val="t"/>
              <c:showLegendKey val="0"/>
              <c:showVal val="1"/>
              <c:showCatName val="0"/>
              <c:showSerName val="0"/>
              <c:showPercent val="0"/>
              <c:showBubbleSize val="0"/>
            </c:dLbl>
            <c:dLbl>
              <c:idx val="12"/>
              <c:tx>
                <c:rich>
                  <a:bodyPr/>
                  <a:lstStyle/>
                  <a:p>
                    <a:r>
                      <a:t>147.65</a:t>
                    </a:r>
                  </a:p>
                </c:rich>
              </c:tx>
              <c:dLblPos val="t"/>
              <c:showLegendKey val="0"/>
              <c:showVal val="1"/>
              <c:showCatName val="0"/>
              <c:showSerName val="0"/>
              <c:showPercent val="0"/>
              <c:showBubbleSize val="0"/>
            </c:dLbl>
            <c:dLbl>
              <c:idx val="13"/>
              <c:tx>
                <c:rich>
                  <a:bodyPr/>
                  <a:lstStyle/>
                  <a:p>
                    <a:r>
                      <a:t>293.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Liquido 50+ 240Ml</c:v>
                </c:pt>
                <c:pt idx="1">
                  <c:v>Edgewell Banana Boat Aqua Protect Sunscreen Adults Cosmetics Spray Liquido 50+ 170Ml</c:v>
                </c:pt>
                <c:pt idx="2">
                  <c:v>Edgewell Banana Boat Advanced Protection Sunscreen Adults Cosmetics Liquido 50+ 240Ml</c:v>
                </c:pt>
                <c:pt idx="3">
                  <c:v>Edgewell Hawaiian Tropic Ozono Sunscreen Adults Cosmetics Spray Liquido 50+ 180Ml</c:v>
                </c:pt>
                <c:pt idx="4">
                  <c:v>Edgewell Hawaiian Tropic Other Sunscreen Adults Cosmetics Crema 50+ 240Ml</c:v>
                </c:pt>
                <c:pt idx="5">
                  <c:v>Edgewell Banana Boat Aqua Protect Sunscreen Adults Cosmetics Crema 50+ 236Ml</c:v>
                </c:pt>
                <c:pt idx="6">
                  <c:v>Edgewell Hawaiian Tropic Island Sport Sunscreen Adults Sport Liquido 50 240Ml</c:v>
                </c:pt>
                <c:pt idx="7">
                  <c:v>Edgewell Banana Boat Dry Balance Sunscreen Adults Sport Spray Liquido 50 220Ml</c:v>
                </c:pt>
                <c:pt idx="8">
                  <c:v>Edgewell Hawaiian Tropic Island Sport Sunscreen Adults Sport Spray Liquido 50 220Ml</c:v>
                </c:pt>
                <c:pt idx="9">
                  <c:v>Edgewell Banana Boat Banded Pack Banded Pack 2X Sunscreen Multi 50+ 236Ml</c:v>
                </c:pt>
                <c:pt idx="10">
                  <c:v>Edgewell Banana Boat Banded Pack Banded Pack 2X Sunscreen Multi 50+ 170Ml</c:v>
                </c:pt>
                <c:pt idx="11">
                  <c:v>Edgewell Banana Boat Aqua Protect Sunscreen Adults Sport Crema 50+ 236Ml</c:v>
                </c:pt>
                <c:pt idx="12">
                  <c:v>Edgewell Banana Boat After Sun After Sun Adults Cosmetics Gel 0 - 5 230Ml</c:v>
                </c:pt>
                <c:pt idx="13">
                  <c:v>Edgewell Hawaiian Tropic Tanning Tanning Adults Cosmetics Spray Aceite 0 - 5 240Ml</c:v>
                </c:pt>
              </c:strCache>
            </c:strRef>
          </c:cat>
          <c:val>
            <c:numRef>
              <c:f>Sheet1!$B$2:$B$16</c:f>
              <c:numCache>
                <c:formatCode>General</c:formatCode>
                <c:ptCount val="15"/>
                <c:pt idx="0">
                  <c:v>286.89</c:v>
                </c:pt>
                <c:pt idx="1">
                  <c:v>308.6</c:v>
                </c:pt>
                <c:pt idx="2">
                  <c:v>281.45</c:v>
                </c:pt>
                <c:pt idx="3">
                  <c:v>294.17</c:v>
                </c:pt>
                <c:pt idx="4">
                  <c:v>289.72</c:v>
                </c:pt>
                <c:pt idx="5">
                  <c:v>268.09</c:v>
                </c:pt>
                <c:pt idx="6">
                  <c:v>286.0</c:v>
                </c:pt>
                <c:pt idx="7">
                  <c:v>305.0</c:v>
                </c:pt>
                <c:pt idx="8">
                  <c:v>312.34</c:v>
                </c:pt>
                <c:pt idx="9">
                  <c:v>254.7</c:v>
                </c:pt>
                <c:pt idx="10">
                  <c:v>326.42</c:v>
                </c:pt>
                <c:pt idx="11">
                  <c:v>278.07</c:v>
                </c:pt>
                <c:pt idx="12">
                  <c:v>147.65</c:v>
                </c:pt>
                <c:pt idx="13">
                  <c:v>293.59</c:v>
                </c:pt>
                <c:pt idx="14">
                  <c:v>278.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312.46</a:t>
                    </a:r>
                  </a:p>
                </c:rich>
              </c:tx>
              <c:dLblPos val="t"/>
              <c:showLegendKey val="0"/>
              <c:showVal val="1"/>
              <c:showCatName val="0"/>
              <c:showSerName val="0"/>
              <c:showPercent val="0"/>
              <c:showBubbleSize val="0"/>
            </c:dLbl>
            <c:dLbl>
              <c:idx val="2"/>
              <c:tx>
                <c:rich>
                  <a:bodyPr/>
                  <a:lstStyle/>
                  <a:p>
                    <a:r>
                      <a:t>286.78</a:t>
                    </a:r>
                  </a:p>
                </c:rich>
              </c:tx>
              <c:dLblPos val="t"/>
              <c:showLegendKey val="0"/>
              <c:showVal val="1"/>
              <c:showCatName val="0"/>
              <c:showSerName val="0"/>
              <c:showPercent val="0"/>
              <c:showBubbleSize val="0"/>
            </c:dLbl>
            <c:dLbl>
              <c:idx val="3"/>
              <c:tx>
                <c:rich>
                  <a:bodyPr/>
                  <a:lstStyle/>
                  <a:p>
                    <a:r>
                      <a:t>309.18</a:t>
                    </a:r>
                  </a:p>
                </c:rich>
              </c:tx>
              <c:dLblPos val="t"/>
              <c:showLegendKey val="0"/>
              <c:showVal val="1"/>
              <c:showCatName val="0"/>
              <c:showSerName val="0"/>
              <c:showPercent val="0"/>
              <c:showBubbleSize val="0"/>
            </c:dLbl>
            <c:dLbl>
              <c:idx val="4"/>
              <c:tx>
                <c:rich>
                  <a:bodyPr/>
                  <a:lstStyle/>
                  <a:p>
                    <a:r>
                      <a:t>105.11</a:t>
                    </a:r>
                  </a:p>
                </c:rich>
              </c:tx>
              <c:dLblPos val="t"/>
              <c:showLegendKey val="0"/>
              <c:showVal val="1"/>
              <c:showCatName val="0"/>
              <c:showSerName val="0"/>
              <c:showPercent val="0"/>
              <c:showBubbleSize val="0"/>
            </c:dLbl>
            <c:dLbl>
              <c:idx val="5"/>
              <c:tx>
                <c:rich>
                  <a:bodyPr/>
                  <a:lstStyle/>
                  <a:p>
                    <a:r>
                      <a:t>295.5</a:t>
                    </a:r>
                  </a:p>
                </c:rich>
              </c:tx>
              <c:dLblPos val="t"/>
              <c:showLegendKey val="0"/>
              <c:showVal val="1"/>
              <c:showCatName val="0"/>
              <c:showSerName val="0"/>
              <c:showPercent val="0"/>
              <c:showBubbleSize val="0"/>
            </c:dLbl>
            <c:dLbl>
              <c:idx val="6"/>
              <c:tx>
                <c:rich>
                  <a:bodyPr/>
                  <a:lstStyle/>
                  <a:p>
                    <a:r>
                      <a:t>274.64</a:t>
                    </a:r>
                  </a:p>
                </c:rich>
              </c:tx>
              <c:dLblPos val="t"/>
              <c:showLegendKey val="0"/>
              <c:showVal val="1"/>
              <c:showCatName val="0"/>
              <c:showSerName val="0"/>
              <c:showPercent val="0"/>
              <c:showBubbleSize val="0"/>
            </c:dLbl>
            <c:dLbl>
              <c:idx val="7"/>
              <c:tx>
                <c:rich>
                  <a:bodyPr/>
                  <a:lstStyle/>
                  <a:p>
                    <a:r>
                      <a:t>292.61</a:t>
                    </a:r>
                  </a:p>
                </c:rich>
              </c:tx>
              <c:dLblPos val="t"/>
              <c:showLegendKey val="0"/>
              <c:showVal val="1"/>
              <c:showCatName val="0"/>
              <c:showSerName val="0"/>
              <c:showPercent val="0"/>
              <c:showBubbleSize val="0"/>
            </c:dLbl>
            <c:dLbl>
              <c:idx val="8"/>
              <c:tx>
                <c:rich>
                  <a:bodyPr/>
                  <a:lstStyle/>
                  <a:p>
                    <a:r>
                      <a:t>314.98</a:t>
                    </a:r>
                  </a:p>
                </c:rich>
              </c:tx>
              <c:dLblPos val="t"/>
              <c:showLegendKey val="0"/>
              <c:showVal val="1"/>
              <c:showCatName val="0"/>
              <c:showSerName val="0"/>
              <c:showPercent val="0"/>
              <c:showBubbleSize val="0"/>
            </c:dLbl>
            <c:dLbl>
              <c:idx val="9"/>
              <c:tx>
                <c:rich>
                  <a:bodyPr/>
                  <a:lstStyle/>
                  <a:p>
                    <a:r>
                      <a:t>323.42</a:t>
                    </a:r>
                  </a:p>
                </c:rich>
              </c:tx>
              <c:dLblPos val="t"/>
              <c:showLegendKey val="0"/>
              <c:showVal val="1"/>
              <c:showCatName val="0"/>
              <c:showSerName val="0"/>
              <c:showPercent val="0"/>
              <c:showBubbleSize val="0"/>
            </c:dLbl>
            <c:dLbl>
              <c:idx val="10"/>
              <c:tx>
                <c:rich>
                  <a:bodyPr/>
                  <a:lstStyle/>
                  <a:p>
                    <a:r>
                      <a:t>266.74</a:t>
                    </a:r>
                  </a:p>
                </c:rich>
              </c:tx>
              <c:dLblPos val="t"/>
              <c:showLegendKey val="0"/>
              <c:showVal val="1"/>
              <c:showCatName val="0"/>
              <c:showSerName val="0"/>
              <c:showPercent val="0"/>
              <c:showBubbleSize val="0"/>
            </c:dLbl>
            <c:dLbl>
              <c:idx val="11"/>
              <c:tx>
                <c:rich>
                  <a:bodyPr/>
                  <a:lstStyle/>
                  <a:p>
                    <a:r>
                      <a:t>286.35</a:t>
                    </a:r>
                  </a:p>
                </c:rich>
              </c:tx>
              <c:dLblPos val="t"/>
              <c:showLegendKey val="0"/>
              <c:showVal val="1"/>
              <c:showCatName val="0"/>
              <c:showSerName val="0"/>
              <c:showPercent val="0"/>
              <c:showBubbleSize val="0"/>
            </c:dLbl>
            <c:dLbl>
              <c:idx val="12"/>
              <c:tx>
                <c:rich>
                  <a:bodyPr/>
                  <a:lstStyle/>
                  <a:p>
                    <a:r>
                      <a:t>148.93</a:t>
                    </a:r>
                  </a:p>
                </c:rich>
              </c:tx>
              <c:dLblPos val="t"/>
              <c:showLegendKey val="0"/>
              <c:showVal val="1"/>
              <c:showCatName val="0"/>
              <c:showSerName val="0"/>
              <c:showPercent val="0"/>
              <c:showBubbleSize val="0"/>
            </c:dLbl>
            <c:dLbl>
              <c:idx val="13"/>
              <c:tx>
                <c:rich>
                  <a:bodyPr/>
                  <a:lstStyle/>
                  <a:p>
                    <a:r>
                      <a:t>304.55</a:t>
                    </a:r>
                  </a:p>
                </c:rich>
              </c:tx>
              <c:dLblPos val="t"/>
              <c:showLegendKey val="0"/>
              <c:showVal val="1"/>
              <c:showCatName val="0"/>
              <c:showSerName val="0"/>
              <c:showPercent val="0"/>
              <c:showBubbleSize val="0"/>
            </c:dLbl>
            <c:dLbl>
              <c:idx val="14"/>
              <c:tx>
                <c:rich>
                  <a:bodyPr/>
                  <a:lstStyle/>
                  <a:p>
                    <a:r>
                      <a:t>279.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qua Protect Sunscreen Adults Cosmetics Spray Liquido 50+ 170Ml</c:v>
                </c:pt>
                <c:pt idx="2">
                  <c:v>Edgewell Banana Boat Advanced Protection Sunscreen Adults Cosmetics Liquido 50+ 240Ml</c:v>
                </c:pt>
                <c:pt idx="3">
                  <c:v>Edgewell Hawaiian Tropic Ozono Sunscreen Adults Cosmetics Spray Liquido 50+ 180Ml</c:v>
                </c:pt>
                <c:pt idx="4">
                  <c:v>Edgewell Hawaiian Tropic Ozono Sunscreen Adults Cosmetics Liquido 50+ 90Ml</c:v>
                </c:pt>
                <c:pt idx="5">
                  <c:v>Edgewell Hawaiian Tropic Other Sunscreen Adults Cosmetics Crema 50+ 240Ml</c:v>
                </c:pt>
                <c:pt idx="6">
                  <c:v>Edgewell Banana Boat Aqua Protect Sunscreen Adults Cosmetics Crema 50+ 236Ml</c:v>
                </c:pt>
                <c:pt idx="7">
                  <c:v>Edgewell Hawaiian Tropic Island Sport Sunscreen Adults Sport Liquido 50 240Ml</c:v>
                </c:pt>
                <c:pt idx="8">
                  <c:v>Edgewell Banana Boat Dry Balance Sunscreen Adults Sport Spray Liquido 50 220Ml</c:v>
                </c:pt>
                <c:pt idx="9">
                  <c:v>Edgewell Hawaiian Tropic Island Sport Sunscreen Adults Sport Spray Liquido 50 220Ml</c:v>
                </c:pt>
                <c:pt idx="10">
                  <c:v>Edgewell Banana Boat Banded Pack Banded Pack 2X Sunscreen Multi 50+ 236Ml</c:v>
                </c:pt>
                <c:pt idx="11">
                  <c:v>Edgewell Banana Boat Aqua Protect Sunscreen Adults Sport Crema 50+ 236Ml</c:v>
                </c:pt>
                <c:pt idx="12">
                  <c:v>Edgewell Banana Boat After Sun After Sun Adults Cosmetics Gel 0 - 5 230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291.91</c:v>
                </c:pt>
                <c:pt idx="1">
                  <c:v>312.46</c:v>
                </c:pt>
                <c:pt idx="2">
                  <c:v>286.78</c:v>
                </c:pt>
                <c:pt idx="3">
                  <c:v>309.18</c:v>
                </c:pt>
                <c:pt idx="4">
                  <c:v>105.11</c:v>
                </c:pt>
                <c:pt idx="5">
                  <c:v>295.5</c:v>
                </c:pt>
                <c:pt idx="6">
                  <c:v>274.64</c:v>
                </c:pt>
                <c:pt idx="7">
                  <c:v>292.61</c:v>
                </c:pt>
                <c:pt idx="8">
                  <c:v>314.98</c:v>
                </c:pt>
                <c:pt idx="9">
                  <c:v>323.42</c:v>
                </c:pt>
                <c:pt idx="10">
                  <c:v>266.74</c:v>
                </c:pt>
                <c:pt idx="11">
                  <c:v>286.35</c:v>
                </c:pt>
                <c:pt idx="12">
                  <c:v>148.93</c:v>
                </c:pt>
                <c:pt idx="13">
                  <c:v>304.55</c:v>
                </c:pt>
                <c:pt idx="14">
                  <c:v>279.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98</a:t>
                    </a:r>
                  </a:p>
                </c:rich>
              </c:tx>
              <c:dLblPos val="t"/>
              <c:showLegendKey val="0"/>
              <c:showVal val="1"/>
              <c:showCatName val="0"/>
              <c:showSerName val="0"/>
              <c:showPercent val="0"/>
              <c:showBubbleSize val="0"/>
            </c:dLbl>
            <c:dLbl>
              <c:idx val="1"/>
              <c:tx>
                <c:rich>
                  <a:bodyPr/>
                  <a:lstStyle/>
                  <a:p>
                    <a:r>
                      <a:t>327.71</a:t>
                    </a:r>
                  </a:p>
                </c:rich>
              </c:tx>
              <c:dLblPos val="t"/>
              <c:showLegendKey val="0"/>
              <c:showVal val="1"/>
              <c:showCatName val="0"/>
              <c:showSerName val="0"/>
              <c:showPercent val="0"/>
              <c:showBubbleSize val="0"/>
            </c:dLbl>
            <c:dLbl>
              <c:idx val="2"/>
              <c:tx>
                <c:rich>
                  <a:bodyPr/>
                  <a:lstStyle/>
                  <a:p>
                    <a:r>
                      <a:t>81.09</a:t>
                    </a:r>
                  </a:p>
                </c:rich>
              </c:tx>
              <c:dLblPos val="t"/>
              <c:showLegendKey val="0"/>
              <c:showVal val="1"/>
              <c:showCatName val="0"/>
              <c:showSerName val="0"/>
              <c:showPercent val="0"/>
              <c:showBubbleSize val="0"/>
            </c:dLbl>
            <c:dLbl>
              <c:idx val="3"/>
              <c:tx>
                <c:rich>
                  <a:bodyPr/>
                  <a:lstStyle/>
                  <a:p>
                    <a:r>
                      <a:t>319.96</a:t>
                    </a:r>
                  </a:p>
                </c:rich>
              </c:tx>
              <c:dLblPos val="t"/>
              <c:showLegendKey val="0"/>
              <c:showVal val="1"/>
              <c:showCatName val="0"/>
              <c:showSerName val="0"/>
              <c:showPercent val="0"/>
              <c:showBubbleSize val="0"/>
            </c:dLbl>
            <c:dLbl>
              <c:idx val="4"/>
              <c:tx>
                <c:rich>
                  <a:bodyPr/>
                  <a:lstStyle/>
                  <a:p>
                    <a:r>
                      <a:t>303.93</a:t>
                    </a:r>
                  </a:p>
                </c:rich>
              </c:tx>
              <c:dLblPos val="t"/>
              <c:showLegendKey val="0"/>
              <c:showVal val="1"/>
              <c:showCatName val="0"/>
              <c:showSerName val="0"/>
              <c:showPercent val="0"/>
              <c:showBubbleSize val="0"/>
            </c:dLbl>
            <c:dLbl>
              <c:idx val="5"/>
              <c:tx>
                <c:rich>
                  <a:bodyPr/>
                  <a:lstStyle/>
                  <a:p>
                    <a:r>
                      <a:t>338.35</a:t>
                    </a:r>
                  </a:p>
                </c:rich>
              </c:tx>
              <c:dLblPos val="t"/>
              <c:showLegendKey val="0"/>
              <c:showVal val="1"/>
              <c:showCatName val="0"/>
              <c:showSerName val="0"/>
              <c:showPercent val="0"/>
              <c:showBubbleSize val="0"/>
            </c:dLbl>
            <c:dLbl>
              <c:idx val="6"/>
              <c:tx>
                <c:rich>
                  <a:bodyPr/>
                  <a:lstStyle/>
                  <a:p>
                    <a:r>
                      <a:t>322.45</a:t>
                    </a:r>
                  </a:p>
                </c:rich>
              </c:tx>
              <c:dLblPos val="t"/>
              <c:showLegendKey val="0"/>
              <c:showVal val="1"/>
              <c:showCatName val="0"/>
              <c:showSerName val="0"/>
              <c:showPercent val="0"/>
              <c:showBubbleSize val="0"/>
            </c:dLbl>
            <c:dLbl>
              <c:idx val="7"/>
              <c:tx>
                <c:rich>
                  <a:bodyPr/>
                  <a:lstStyle/>
                  <a:p>
                    <a:r>
                      <a:t>332.96</a:t>
                    </a:r>
                  </a:p>
                </c:rich>
              </c:tx>
              <c:dLblPos val="t"/>
              <c:showLegendKey val="0"/>
              <c:showVal val="1"/>
              <c:showCatName val="0"/>
              <c:showSerName val="0"/>
              <c:showPercent val="0"/>
              <c:showBubbleSize val="0"/>
            </c:dLbl>
            <c:dLbl>
              <c:idx val="8"/>
              <c:tx>
                <c:rich>
                  <a:bodyPr/>
                  <a:lstStyle/>
                  <a:p>
                    <a:r>
                      <a:t>156.76</a:t>
                    </a:r>
                  </a:p>
                </c:rich>
              </c:tx>
              <c:dLblPos val="t"/>
              <c:showLegendKey val="0"/>
              <c:showVal val="1"/>
              <c:showCatName val="0"/>
              <c:showSerName val="0"/>
              <c:showPercent val="0"/>
              <c:showBubbleSize val="0"/>
            </c:dLbl>
            <c:dLbl>
              <c:idx val="9"/>
              <c:tx>
                <c:rich>
                  <a:bodyPr/>
                  <a:lstStyle/>
                  <a:p>
                    <a:r>
                      <a:t>337.37</a:t>
                    </a:r>
                  </a:p>
                </c:rich>
              </c:tx>
              <c:dLblPos val="t"/>
              <c:showLegendKey val="0"/>
              <c:showVal val="1"/>
              <c:showCatName val="0"/>
              <c:showSerName val="0"/>
              <c:showPercent val="0"/>
              <c:showBubbleSize val="0"/>
            </c:dLbl>
            <c:dLbl>
              <c:idx val="10"/>
              <c:tx>
                <c:rich>
                  <a:bodyPr/>
                  <a:lstStyle/>
                  <a:p>
                    <a:r>
                      <a:t>345.53</a:t>
                    </a:r>
                  </a:p>
                </c:rich>
              </c:tx>
              <c:dLblPos val="t"/>
              <c:showLegendKey val="0"/>
              <c:showVal val="1"/>
              <c:showCatName val="0"/>
              <c:showSerName val="0"/>
              <c:showPercent val="0"/>
              <c:showBubbleSize val="0"/>
            </c:dLbl>
            <c:dLbl>
              <c:idx val="11"/>
              <c:tx>
                <c:rich>
                  <a:bodyPr/>
                  <a:lstStyle/>
                  <a:p>
                    <a:r>
                      <a:t>400.38</a:t>
                    </a:r>
                  </a:p>
                </c:rich>
              </c:tx>
              <c:dLblPos val="t"/>
              <c:showLegendKey val="0"/>
              <c:showVal val="1"/>
              <c:showCatName val="0"/>
              <c:showSerName val="0"/>
              <c:showPercent val="0"/>
              <c:showBubbleSize val="0"/>
            </c:dLbl>
            <c:dLbl>
              <c:idx val="12"/>
              <c:tx>
                <c:rich>
                  <a:bodyPr/>
                  <a:lstStyle/>
                  <a:p>
                    <a:r>
                      <a:t>271.16</a:t>
                    </a:r>
                  </a:p>
                </c:rich>
              </c:tx>
              <c:dLblPos val="t"/>
              <c:showLegendKey val="0"/>
              <c:showVal val="1"/>
              <c:showCatName val="0"/>
              <c:showSerName val="0"/>
              <c:showPercent val="0"/>
              <c:showBubbleSize val="0"/>
            </c:dLbl>
            <c:dLbl>
              <c:idx val="13"/>
              <c:tx>
                <c:rich>
                  <a:bodyPr/>
                  <a:lstStyle/>
                  <a:p>
                    <a:r>
                      <a:t>343.91</a:t>
                    </a:r>
                  </a:p>
                </c:rich>
              </c:tx>
              <c:dLblPos val="t"/>
              <c:showLegendKey val="0"/>
              <c:showVal val="1"/>
              <c:showCatName val="0"/>
              <c:showSerName val="0"/>
              <c:showPercent val="0"/>
              <c:showBubbleSize val="0"/>
            </c:dLbl>
            <c:dLbl>
              <c:idx val="14"/>
              <c:tx>
                <c:rich>
                  <a:bodyPr/>
                  <a:lstStyle/>
                  <a:p>
                    <a:r>
                      <a:t>102.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qua Protect Sunscreen Adults Cosmetics Spray Liquido 50+ 170Ml</c:v>
                </c:pt>
                <c:pt idx="2">
                  <c:v>Edgewell Banana Boat Advanced Protection Sunscreen Adults Cosmetics Liquido 50+ 60Ml</c:v>
                </c:pt>
                <c:pt idx="3">
                  <c:v>Edgewell Banana Boat Advanced Protection Sunscreen Adults Cosmetics Liquido 50+ 240Ml</c:v>
                </c:pt>
                <c:pt idx="4">
                  <c:v>Edgewell Hawaiian Tropic Other Sunscreen Adults Cosmetics Crema 50+ 240Ml</c:v>
                </c:pt>
                <c:pt idx="5">
                  <c:v>Edgewell Hawaiian Tropic Island Sport Sunscreen Adults Sport Spray Liquido 50 220Ml</c:v>
                </c:pt>
                <c:pt idx="6">
                  <c:v>Edgewell Hawaiian Tropic Island Sport Sunscreen Adults Sport Liquido 50 240Ml</c:v>
                </c:pt>
                <c:pt idx="7">
                  <c:v>Edgewell Banana Boat Dry Balance Sunscreen Adults Sport Spray Liquido 50 220Ml</c:v>
                </c:pt>
                <c:pt idx="8">
                  <c:v>Edgewell Banana Boat After Sun After Sun Adults Cosmetics Gel 0 - 5 230Ml</c:v>
                </c:pt>
                <c:pt idx="9">
                  <c:v>Edgewell Banana Boat Aqua Protect Sunscreen Adults Sport Crema 50+ 236Ml</c:v>
                </c:pt>
                <c:pt idx="10">
                  <c:v>Edgewell Banana Boat Mineral Sunscreen Kids Cosmetics Locion 50 180Ml</c:v>
                </c:pt>
                <c:pt idx="11">
                  <c:v>Edgewell Banana Boat Banded Pack Banded Pack 2X Sunscreen Multi 50+ 170Ml</c:v>
                </c:pt>
                <c:pt idx="12">
                  <c:v>Edgewell Hawaiian Tropic Tanning Tanning Adults Cosmetics Spray Aceite 0 - 5 240Ml</c:v>
                </c:pt>
                <c:pt idx="13">
                  <c:v>Edgewell Banana Boat Mineral Sunscreen Adults Sport Locion 50 180Ml</c:v>
                </c:pt>
                <c:pt idx="14">
                  <c:v>Edgewell Banana Boat Dry Balance Sunscreen Adults Sport Locion 50+ 60Ml</c:v>
                </c:pt>
              </c:strCache>
            </c:strRef>
          </c:cat>
          <c:val>
            <c:numRef>
              <c:f>Sheet1!$B$2:$B$16</c:f>
              <c:numCache>
                <c:formatCode>General</c:formatCode>
                <c:ptCount val="15"/>
                <c:pt idx="0">
                  <c:v>308.98</c:v>
                </c:pt>
                <c:pt idx="1">
                  <c:v>327.71</c:v>
                </c:pt>
                <c:pt idx="2">
                  <c:v>81.09</c:v>
                </c:pt>
                <c:pt idx="3">
                  <c:v>319.96</c:v>
                </c:pt>
                <c:pt idx="4">
                  <c:v>303.93</c:v>
                </c:pt>
                <c:pt idx="5">
                  <c:v>338.35</c:v>
                </c:pt>
                <c:pt idx="6">
                  <c:v>322.45</c:v>
                </c:pt>
                <c:pt idx="7">
                  <c:v>332.96</c:v>
                </c:pt>
                <c:pt idx="8">
                  <c:v>156.76</c:v>
                </c:pt>
                <c:pt idx="9">
                  <c:v>337.37</c:v>
                </c:pt>
                <c:pt idx="10">
                  <c:v>345.53</c:v>
                </c:pt>
                <c:pt idx="11">
                  <c:v>400.38</c:v>
                </c:pt>
                <c:pt idx="12">
                  <c:v>271.16</c:v>
                </c:pt>
                <c:pt idx="13">
                  <c:v>343.91</c:v>
                </c:pt>
                <c:pt idx="14">
                  <c:v>102.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0.75</a:t>
                    </a:r>
                  </a:p>
                </c:rich>
              </c:tx>
              <c:dLblPos val="t"/>
              <c:showLegendKey val="0"/>
              <c:showVal val="1"/>
              <c:showCatName val="0"/>
              <c:showSerName val="0"/>
              <c:showPercent val="0"/>
              <c:showBubbleSize val="0"/>
            </c:dLbl>
            <c:dLbl>
              <c:idx val="2"/>
              <c:tx>
                <c:rich>
                  <a:bodyPr/>
                  <a:lstStyle/>
                  <a:p>
                    <a:r>
                      <a:t>93.72</a:t>
                    </a:r>
                  </a:p>
                </c:rich>
              </c:tx>
              <c:dLblPos val="t"/>
              <c:showLegendKey val="0"/>
              <c:showVal val="1"/>
              <c:showCatName val="0"/>
              <c:showSerName val="0"/>
              <c:showPercent val="0"/>
              <c:showBubbleSize val="0"/>
            </c:dLbl>
            <c:dLbl>
              <c:idx val="3"/>
              <c:tx>
                <c:rich>
                  <a:bodyPr/>
                  <a:lstStyle/>
                  <a:p>
                    <a:r>
                      <a:t>281.29</a:t>
                    </a:r>
                  </a:p>
                </c:rich>
              </c:tx>
              <c:dLblPos val="t"/>
              <c:showLegendKey val="0"/>
              <c:showVal val="1"/>
              <c:showCatName val="0"/>
              <c:showSerName val="0"/>
              <c:showPercent val="0"/>
              <c:showBubbleSize val="0"/>
            </c:dLbl>
            <c:dLbl>
              <c:idx val="4"/>
              <c:tx>
                <c:rich>
                  <a:bodyPr/>
                  <a:lstStyle/>
                  <a:p>
                    <a:r>
                      <a:t>244.51</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48.86</a:t>
                    </a:r>
                  </a:p>
                </c:rich>
              </c:tx>
              <c:dLblPos val="t"/>
              <c:showLegendKey val="0"/>
              <c:showVal val="1"/>
              <c:showCatName val="0"/>
              <c:showSerName val="0"/>
              <c:showPercent val="0"/>
              <c:showBubbleSize val="0"/>
            </c:dLbl>
            <c:dLbl>
              <c:idx val="7"/>
              <c:tx>
                <c:rich>
                  <a:bodyPr/>
                  <a:lstStyle/>
                  <a:p>
                    <a:r>
                      <a:t>253.23</a:t>
                    </a:r>
                  </a:p>
                </c:rich>
              </c:tx>
              <c:dLblPos val="t"/>
              <c:showLegendKey val="0"/>
              <c:showVal val="1"/>
              <c:showCatName val="0"/>
              <c:showSerName val="0"/>
              <c:showPercent val="0"/>
              <c:showBubbleSize val="0"/>
            </c:dLbl>
            <c:dLbl>
              <c:idx val="8"/>
              <c:tx>
                <c:rich>
                  <a:bodyPr/>
                  <a:lstStyle/>
                  <a:p>
                    <a:r>
                      <a:t>72.25</a:t>
                    </a:r>
                  </a:p>
                </c:rich>
              </c:tx>
              <c:dLblPos val="t"/>
              <c:showLegendKey val="0"/>
              <c:showVal val="1"/>
              <c:showCatName val="0"/>
              <c:showSerName val="0"/>
              <c:showPercent val="0"/>
              <c:showBubbleSize val="0"/>
            </c:dLbl>
            <c:dLbl>
              <c:idx val="9"/>
              <c:tx>
                <c:rich>
                  <a:bodyPr/>
                  <a:lstStyle/>
                  <a:p>
                    <a:r>
                      <a:t>332.2</a:t>
                    </a:r>
                  </a:p>
                </c:rich>
              </c:tx>
              <c:dLblPos val="t"/>
              <c:showLegendKey val="0"/>
              <c:showVal val="1"/>
              <c:showCatName val="0"/>
              <c:showSerName val="0"/>
              <c:showPercent val="0"/>
              <c:showBubbleSize val="0"/>
            </c:dLbl>
            <c:dLbl>
              <c:idx val="10"/>
              <c:tx>
                <c:rich>
                  <a:bodyPr/>
                  <a:lstStyle/>
                  <a:p>
                    <a:r>
                      <a:t>249.96</a:t>
                    </a:r>
                  </a:p>
                </c:rich>
              </c:tx>
              <c:dLblPos val="t"/>
              <c:showLegendKey val="0"/>
              <c:showVal val="1"/>
              <c:showCatName val="0"/>
              <c:showSerName val="0"/>
              <c:showPercent val="0"/>
              <c:showBubbleSize val="0"/>
            </c:dLbl>
            <c:dLbl>
              <c:idx val="11"/>
              <c:tx>
                <c:rich>
                  <a:bodyPr/>
                  <a:lstStyle/>
                  <a:p>
                    <a:r>
                      <a:t>220.0</a:t>
                    </a:r>
                  </a:p>
                </c:rich>
              </c:tx>
              <c:dLblPos val="t"/>
              <c:showLegendKey val="0"/>
              <c:showVal val="1"/>
              <c:showCatName val="0"/>
              <c:showSerName val="0"/>
              <c:showPercent val="0"/>
              <c:showBubbleSize val="0"/>
            </c:dLbl>
            <c:dLbl>
              <c:idx val="12"/>
              <c:tx>
                <c:rich>
                  <a:bodyPr/>
                  <a:lstStyle/>
                  <a:p>
                    <a:r>
                      <a:t>268.66</a:t>
                    </a:r>
                  </a:p>
                </c:rich>
              </c:tx>
              <c:dLblPos val="t"/>
              <c:showLegendKey val="0"/>
              <c:showVal val="1"/>
              <c:showCatName val="0"/>
              <c:showSerName val="0"/>
              <c:showPercent val="0"/>
              <c:showBubbleSize val="0"/>
            </c:dLbl>
            <c:dLbl>
              <c:idx val="13"/>
              <c:tx>
                <c:rich>
                  <a:bodyPr/>
                  <a:lstStyle/>
                  <a:p>
                    <a:r>
                      <a:t>175.6</a:t>
                    </a:r>
                  </a:p>
                </c:rich>
              </c:tx>
              <c:dLblPos val="t"/>
              <c:showLegendKey val="0"/>
              <c:showVal val="1"/>
              <c:showCatName val="0"/>
              <c:showSerName val="0"/>
              <c:showPercent val="0"/>
              <c:showBubbleSize val="0"/>
            </c:dLbl>
            <c:dLbl>
              <c:idx val="14"/>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Hawaiian Tropic Other Sunscreen Adults Cosmetics Crema 50+ 240Ml</c:v>
                </c:pt>
                <c:pt idx="2">
                  <c:v>Edgewell Banana Boat Advanced Protection Sunscreen Adults Cosmetics Liquido 50+ 60Ml</c:v>
                </c:pt>
                <c:pt idx="3">
                  <c:v>Edgewell Hawaiian Tropic Ozono Sunscreen Adults Cosmetics Liquido 50+ 180Ml</c:v>
                </c:pt>
                <c:pt idx="4">
                  <c:v>Edgewell Hawaiian Tropic Ozono Sunscreen Adults Cosmetics Liquido 50+ 240Ml</c:v>
                </c:pt>
                <c:pt idx="5">
                  <c:v>Edgewell Hawaiian Tropic Sheer Touch Sunscreen Adults Cosmetics Liquido 30 - 49 60Ml</c:v>
                </c:pt>
                <c:pt idx="6">
                  <c:v>Edgewell Banana Boat Advanced Protection Sunscreen Adults Sport Liquido 50 180Ml</c:v>
                </c:pt>
                <c:pt idx="7">
                  <c:v>Edgewell Hawaiian Tropic Island Sport Sunscreen Adults Sport Liquido 50 240Ml</c:v>
                </c:pt>
                <c:pt idx="8">
                  <c:v>Edgewell Hawaiian Tropic Island Sport Sunscreen Adults Sport Liquido 50 60Ml</c:v>
                </c:pt>
                <c:pt idx="9">
                  <c:v>Edgewell Banana Boat Banded Pack Banded Pack 2X Sunscreen Multi 50+ 170Ml</c:v>
                </c:pt>
                <c:pt idx="10">
                  <c:v>Edgewell Banana Boat Mineral Sunscreen Adults Cosmetics Locion 50 60Ml</c:v>
                </c:pt>
                <c:pt idx="11">
                  <c:v>Edgewell Banana Boat Mineral Sunscreen Adults Sport Locion 50 180Ml</c:v>
                </c:pt>
                <c:pt idx="12">
                  <c:v>Edgewell Banana Boat Aqua Protect Sunscreen Adults Sport Crema 50+ 236Ml</c:v>
                </c:pt>
                <c:pt idx="13">
                  <c:v>Edgewell Hawaiian Tropic After Sun After Sun Adults Cosmetics Gel 0 - 5 240Ml</c:v>
                </c:pt>
                <c:pt idx="14">
                  <c:v>Edgewell Hawaiian Tropic After Sun After Sun Adults Cosmetics Crema 0 - 5 180Ml</c:v>
                </c:pt>
              </c:strCache>
            </c:strRef>
          </c:cat>
          <c:val>
            <c:numRef>
              <c:f>Sheet1!$B$2:$B$16</c:f>
              <c:numCache>
                <c:formatCode>General</c:formatCode>
                <c:ptCount val="15"/>
                <c:pt idx="0">
                  <c:v>240.0</c:v>
                </c:pt>
                <c:pt idx="1">
                  <c:v>250.75</c:v>
                </c:pt>
                <c:pt idx="2">
                  <c:v>93.72</c:v>
                </c:pt>
                <c:pt idx="3">
                  <c:v>281.29</c:v>
                </c:pt>
                <c:pt idx="4">
                  <c:v>244.51</c:v>
                </c:pt>
                <c:pt idx="5">
                  <c:v>133.0</c:v>
                </c:pt>
                <c:pt idx="6">
                  <c:v>248.86</c:v>
                </c:pt>
                <c:pt idx="7">
                  <c:v>253.23</c:v>
                </c:pt>
                <c:pt idx="8">
                  <c:v>72.25</c:v>
                </c:pt>
                <c:pt idx="9">
                  <c:v>332.2</c:v>
                </c:pt>
                <c:pt idx="10">
                  <c:v>249.96</c:v>
                </c:pt>
                <c:pt idx="11">
                  <c:v>220.0</c:v>
                </c:pt>
                <c:pt idx="12">
                  <c:v>268.66</c:v>
                </c:pt>
                <c:pt idx="13">
                  <c:v>175.6</c:v>
                </c:pt>
                <c:pt idx="14">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5</a:t>
                    </a:r>
                  </a:p>
                </c:rich>
              </c:tx>
              <c:dLblPos val="t"/>
              <c:showLegendKey val="0"/>
              <c:showVal val="1"/>
              <c:showCatName val="0"/>
              <c:showSerName val="0"/>
              <c:showPercent val="0"/>
              <c:showBubbleSize val="0"/>
            </c:dLbl>
            <c:dLbl>
              <c:idx val="1"/>
              <c:tx>
                <c:rich>
                  <a:bodyPr/>
                  <a:lstStyle/>
                  <a:p>
                    <a:r>
                      <a:t>104.26</a:t>
                    </a:r>
                  </a:p>
                </c:rich>
              </c:tx>
              <c:dLblPos val="t"/>
              <c:showLegendKey val="0"/>
              <c:showVal val="1"/>
              <c:showCatName val="0"/>
              <c:showSerName val="0"/>
              <c:showPercent val="0"/>
              <c:showBubbleSize val="0"/>
            </c:dLbl>
            <c:dLbl>
              <c:idx val="2"/>
              <c:tx>
                <c:rich>
                  <a:bodyPr/>
                  <a:lstStyle/>
                  <a:p>
                    <a:r>
                      <a:t>308.59</a:t>
                    </a:r>
                  </a:p>
                </c:rich>
              </c:tx>
              <c:dLblPos val="t"/>
              <c:showLegendKey val="0"/>
              <c:showVal val="1"/>
              <c:showCatName val="0"/>
              <c:showSerName val="0"/>
              <c:showPercent val="0"/>
              <c:showBubbleSize val="0"/>
            </c:dLbl>
            <c:dLbl>
              <c:idx val="3"/>
              <c:tx>
                <c:rich>
                  <a:bodyPr/>
                  <a:lstStyle/>
                  <a:p>
                    <a:r>
                      <a:t>275.98</a:t>
                    </a:r>
                  </a:p>
                </c:rich>
              </c:tx>
              <c:dLblPos val="t"/>
              <c:showLegendKey val="0"/>
              <c:showVal val="1"/>
              <c:showCatName val="0"/>
              <c:showSerName val="0"/>
              <c:showPercent val="0"/>
              <c:showBubbleSize val="0"/>
            </c:dLbl>
            <c:dLbl>
              <c:idx val="4"/>
              <c:tx>
                <c:rich>
                  <a:bodyPr/>
                  <a:lstStyle/>
                  <a:p>
                    <a:r>
                      <a:t>309.91</a:t>
                    </a:r>
                  </a:p>
                </c:rich>
              </c:tx>
              <c:dLblPos val="t"/>
              <c:showLegendKey val="0"/>
              <c:showVal val="1"/>
              <c:showCatName val="0"/>
              <c:showSerName val="0"/>
              <c:showPercent val="0"/>
              <c:showBubbleSize val="0"/>
            </c:dLbl>
            <c:dLbl>
              <c:idx val="5"/>
              <c:tx>
                <c:rich>
                  <a:bodyPr/>
                  <a:lstStyle/>
                  <a:p>
                    <a:r>
                      <a:t>293.24</a:t>
                    </a:r>
                  </a:p>
                </c:rich>
              </c:tx>
              <c:dLblPos val="t"/>
              <c:showLegendKey val="0"/>
              <c:showVal val="1"/>
              <c:showCatName val="0"/>
              <c:showSerName val="0"/>
              <c:showPercent val="0"/>
              <c:showBubbleSize val="0"/>
            </c:dLbl>
            <c:dLbl>
              <c:idx val="6"/>
              <c:tx>
                <c:rich>
                  <a:bodyPr/>
                  <a:lstStyle/>
                  <a:p>
                    <a:r>
                      <a:t>294.74</a:t>
                    </a:r>
                  </a:p>
                </c:rich>
              </c:tx>
              <c:dLblPos val="t"/>
              <c:showLegendKey val="0"/>
              <c:showVal val="1"/>
              <c:showCatName val="0"/>
              <c:showSerName val="0"/>
              <c:showPercent val="0"/>
              <c:showBubbleSize val="0"/>
            </c:dLbl>
            <c:dLbl>
              <c:idx val="7"/>
              <c:tx>
                <c:rich>
                  <a:bodyPr/>
                  <a:lstStyle/>
                  <a:p>
                    <a:r>
                      <a:t>271.52</a:t>
                    </a:r>
                  </a:p>
                </c:rich>
              </c:tx>
              <c:dLblPos val="t"/>
              <c:showLegendKey val="0"/>
              <c:showVal val="1"/>
              <c:showCatName val="0"/>
              <c:showSerName val="0"/>
              <c:showPercent val="0"/>
              <c:showBubbleSize val="0"/>
            </c:dLbl>
            <c:dLbl>
              <c:idx val="8"/>
              <c:tx>
                <c:rich>
                  <a:bodyPr/>
                  <a:lstStyle/>
                  <a:p>
                    <a:r>
                      <a:t>185.41</a:t>
                    </a:r>
                  </a:p>
                </c:rich>
              </c:tx>
              <c:dLblPos val="t"/>
              <c:showLegendKey val="0"/>
              <c:showVal val="1"/>
              <c:showCatName val="0"/>
              <c:showSerName val="0"/>
              <c:showPercent val="0"/>
              <c:showBubbleSize val="0"/>
            </c:dLbl>
            <c:dLbl>
              <c:idx val="9"/>
              <c:tx>
                <c:rich>
                  <a:bodyPr/>
                  <a:lstStyle/>
                  <a:p>
                    <a:r>
                      <a:t>281.66</a:t>
                    </a:r>
                  </a:p>
                </c:rich>
              </c:tx>
              <c:dLblPos val="t"/>
              <c:showLegendKey val="0"/>
              <c:showVal val="1"/>
              <c:showCatName val="0"/>
              <c:showSerName val="0"/>
              <c:showPercent val="0"/>
              <c:showBubbleSize val="0"/>
            </c:dLbl>
            <c:dLbl>
              <c:idx val="10"/>
              <c:tx>
                <c:rich>
                  <a:bodyPr/>
                  <a:lstStyle/>
                  <a:p>
                    <a:r>
                      <a:t>285.74</a:t>
                    </a:r>
                  </a:p>
                </c:rich>
              </c:tx>
              <c:dLblPos val="t"/>
              <c:showLegendKey val="0"/>
              <c:showVal val="1"/>
              <c:showCatName val="0"/>
              <c:showSerName val="0"/>
              <c:showPercent val="0"/>
              <c:showBubbleSize val="0"/>
            </c:dLbl>
            <c:dLbl>
              <c:idx val="11"/>
              <c:tx>
                <c:rich>
                  <a:bodyPr/>
                  <a:lstStyle/>
                  <a:p>
                    <a:r>
                      <a:t>308.34</a:t>
                    </a:r>
                  </a:p>
                </c:rich>
              </c:tx>
              <c:dLblPos val="t"/>
              <c:showLegendKey val="0"/>
              <c:showVal val="1"/>
              <c:showCatName val="0"/>
              <c:showSerName val="0"/>
              <c:showPercent val="0"/>
              <c:showBubbleSize val="0"/>
            </c:dLbl>
            <c:dLbl>
              <c:idx val="12"/>
              <c:tx>
                <c:rich>
                  <a:bodyPr/>
                  <a:lstStyle/>
                  <a:p>
                    <a:r>
                      <a:t>264.78</a:t>
                    </a:r>
                  </a:p>
                </c:rich>
              </c:tx>
              <c:dLblPos val="t"/>
              <c:showLegendKey val="0"/>
              <c:showVal val="1"/>
              <c:showCatName val="0"/>
              <c:showSerName val="0"/>
              <c:showPercent val="0"/>
              <c:showBubbleSize val="0"/>
            </c:dLbl>
            <c:dLbl>
              <c:idx val="13"/>
              <c:tx>
                <c:rich>
                  <a:bodyPr/>
                  <a:lstStyle/>
                  <a:p>
                    <a:r>
                      <a:t>270.79</a:t>
                    </a:r>
                  </a:p>
                </c:rich>
              </c:tx>
              <c:dLblPos val="t"/>
              <c:showLegendKey val="0"/>
              <c:showVal val="1"/>
              <c:showCatName val="0"/>
              <c:showSerName val="0"/>
              <c:showPercent val="0"/>
              <c:showBubbleSize val="0"/>
            </c:dLbl>
            <c:dLbl>
              <c:idx val="14"/>
              <c:tx>
                <c:rich>
                  <a:bodyPr/>
                  <a:lstStyle/>
                  <a:p>
                    <a:r>
                      <a:t>300.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Banana Boat Aqua Protect Sunscreen Adults Cosmetics Spray Liquido 50+ 170Ml</c:v>
                </c:pt>
                <c:pt idx="3">
                  <c:v>Edgewell Banana Boat Advanced Protection Sunscreen Adults Cosmetics Liquido 50+ 240Ml</c:v>
                </c:pt>
                <c:pt idx="4">
                  <c:v>Edgewell Hawaiian Tropic Ozono Sunscreen Adults Cosmetics Spray Liquido 50+ 180Ml</c:v>
                </c:pt>
                <c:pt idx="5">
                  <c:v>Edgewell Hawaiian Tropic Silk Hydration Sunscreen Adults Cosmetics Liquido 50 180Ml</c:v>
                </c:pt>
                <c:pt idx="6">
                  <c:v>Edgewell Hawaiian Tropic Other Sunscreen Adults Cosmetics Crema 50+ 240Ml</c:v>
                </c:pt>
                <c:pt idx="7">
                  <c:v>Edgewell Banana Boat Aqua Protect Sunscreen Adults Cosmetics Crema 50+ 236Ml</c:v>
                </c:pt>
                <c:pt idx="8">
                  <c:v>Edgewell Hawaiian Tropic Sheer Touch Sunscreen Adults Cosmetics Crema 50 120Ml</c:v>
                </c:pt>
                <c:pt idx="9">
                  <c:v>Edgewell Hawaiian Tropic Sheer Touch Sunscreen Adults Cosmetics Crema 30 - 49 240Ml</c:v>
                </c:pt>
                <c:pt idx="10">
                  <c:v>Edgewell Hawaiian Tropic Island Sport Sunscreen Adults Sport Liquido 50 240Ml</c:v>
                </c:pt>
                <c:pt idx="11">
                  <c:v>Edgewell Banana Boat Dry Balance Sunscreen Adults Sport Spray Liquido 50 220Ml</c:v>
                </c:pt>
                <c:pt idx="12">
                  <c:v>Edgewell Banana Boat Banded Pack Banded Pack 2X Sunscreen Multi 50+ 236Ml</c:v>
                </c:pt>
                <c:pt idx="13">
                  <c:v>Edgewell Banana Boat Aqua Protect Sunscreen Adults Sport Crema 50+ 236Ml</c:v>
                </c:pt>
                <c:pt idx="14">
                  <c:v>Edgewell Banana Boat Banded Pack Banded Pack 2X Sunscreen Multi 50+ 170Ml</c:v>
                </c:pt>
              </c:strCache>
            </c:strRef>
          </c:cat>
          <c:val>
            <c:numRef>
              <c:f>Sheet1!$B$2:$B$16</c:f>
              <c:numCache>
                <c:formatCode>General</c:formatCode>
                <c:ptCount val="15"/>
                <c:pt idx="0">
                  <c:v>285.75</c:v>
                </c:pt>
                <c:pt idx="1">
                  <c:v>104.26</c:v>
                </c:pt>
                <c:pt idx="2">
                  <c:v>308.59</c:v>
                </c:pt>
                <c:pt idx="3">
                  <c:v>275.98</c:v>
                </c:pt>
                <c:pt idx="4">
                  <c:v>309.91</c:v>
                </c:pt>
                <c:pt idx="5">
                  <c:v>293.24</c:v>
                </c:pt>
                <c:pt idx="6">
                  <c:v>294.74</c:v>
                </c:pt>
                <c:pt idx="7">
                  <c:v>271.52</c:v>
                </c:pt>
                <c:pt idx="8">
                  <c:v>185.41</c:v>
                </c:pt>
                <c:pt idx="9">
                  <c:v>281.66</c:v>
                </c:pt>
                <c:pt idx="10">
                  <c:v>285.74</c:v>
                </c:pt>
                <c:pt idx="11">
                  <c:v>308.34</c:v>
                </c:pt>
                <c:pt idx="12">
                  <c:v>264.78</c:v>
                </c:pt>
                <c:pt idx="13">
                  <c:v>270.79</c:v>
                </c:pt>
                <c:pt idx="14">
                  <c:v>300.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296.61</a:t>
                    </a:r>
                  </a:p>
                </c:rich>
              </c:tx>
              <c:showLegendKey val="0"/>
              <c:showVal val="1"/>
              <c:showCatName val="0"/>
              <c:showSerName val="0"/>
              <c:showPercent val="0"/>
              <c:showBubbleSize val="0"/>
            </c:dLbl>
            <c:dLbl>
              <c:idx val="3"/>
              <c:tx>
                <c:rich>
                  <a:bodyPr/>
                  <a:lstStyle/>
                  <a:p>
                    <a:r>
                      <a:t>305.15</a:t>
                    </a:r>
                  </a:p>
                </c:rich>
              </c:tx>
              <c:showLegendKey val="0"/>
              <c:showVal val="1"/>
              <c:showCatName val="0"/>
              <c:showSerName val="0"/>
              <c:showPercent val="0"/>
              <c:showBubbleSize val="0"/>
            </c:dLbl>
            <c:dLbl>
              <c:idx val="4"/>
              <c:tx>
                <c:rich>
                  <a:bodyPr/>
                  <a:lstStyle/>
                  <a:p>
                    <a:r>
                      <a:t>326.36</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301.2</a:t>
                    </a:r>
                  </a:p>
                </c:rich>
              </c:tx>
              <c:showLegendKey val="0"/>
              <c:showVal val="1"/>
              <c:showCatName val="0"/>
              <c:showSerName val="0"/>
              <c:showPercent val="0"/>
              <c:showBubbleSize val="0"/>
            </c:dLbl>
            <c:dLbl>
              <c:idx val="8"/>
              <c:tx>
                <c:rich>
                  <a:bodyPr/>
                  <a:lstStyle/>
                  <a:p>
                    <a:r>
                      <a:t>322.3</a:t>
                    </a:r>
                  </a:p>
                </c:rich>
              </c:tx>
              <c:showLegendKey val="0"/>
              <c:showVal val="1"/>
              <c:showCatName val="0"/>
              <c:showSerName val="0"/>
              <c:showPercent val="0"/>
              <c:showBubbleSize val="0"/>
            </c:dLbl>
            <c:dLbl>
              <c:idx val="9"/>
              <c:tx>
                <c:rich>
                  <a:bodyPr/>
                  <a:lstStyle/>
                  <a:p>
                    <a:r>
                      <a:t>186.88</a:t>
                    </a:r>
                  </a:p>
                </c:rich>
              </c:tx>
              <c:showLegendKey val="0"/>
              <c:showVal val="1"/>
              <c:showCatName val="0"/>
              <c:showSerName val="0"/>
              <c:showPercent val="0"/>
              <c:showBubbleSize val="0"/>
            </c:dLbl>
            <c:dLbl>
              <c:idx val="10"/>
              <c:tx>
                <c:rich>
                  <a:bodyPr/>
                  <a:lstStyle/>
                  <a:p>
                    <a:r>
                      <a:t>635.69</a:t>
                    </a:r>
                  </a:p>
                </c:rich>
              </c:tx>
              <c:showLegendKey val="0"/>
              <c:showVal val="1"/>
              <c:showCatName val="0"/>
              <c:showSerName val="0"/>
              <c:showPercent val="0"/>
              <c:showBubbleSize val="0"/>
            </c:dLbl>
            <c:dLbl>
              <c:idx val="11"/>
              <c:tx>
                <c:rich>
                  <a:bodyPr/>
                  <a:lstStyle/>
                  <a:p>
                    <a:r>
                      <a:t>636.86</a:t>
                    </a:r>
                  </a:p>
                </c:rich>
              </c:tx>
              <c:showLegendKey val="0"/>
              <c:showVal val="1"/>
              <c:showCatName val="0"/>
              <c:showSerName val="0"/>
              <c:showPercent val="0"/>
              <c:showBubbleSize val="0"/>
            </c:dLbl>
            <c:dLbl>
              <c:idx val="12"/>
              <c:tx>
                <c:rich>
                  <a:bodyPr/>
                  <a:lstStyle/>
                  <a:p>
                    <a:r>
                      <a:t>646.75</a:t>
                    </a:r>
                  </a:p>
                </c:rich>
              </c:tx>
              <c:showLegendKey val="0"/>
              <c:showVal val="1"/>
              <c:showCatName val="0"/>
              <c:showSerName val="0"/>
              <c:showPercent val="0"/>
              <c:showBubbleSize val="0"/>
            </c:dLbl>
            <c:dLbl>
              <c:idx val="13"/>
              <c:tx>
                <c:rich>
                  <a:bodyPr/>
                  <a:lstStyle/>
                  <a:p>
                    <a:r>
                      <a:t>665.31</a:t>
                    </a:r>
                  </a:p>
                </c:rich>
              </c:tx>
              <c:showLegendKey val="0"/>
              <c:showVal val="1"/>
              <c:showCatName val="0"/>
              <c:showSerName val="0"/>
              <c:showPercent val="0"/>
              <c:showBubbleSize val="0"/>
            </c:dLbl>
            <c:dLbl>
              <c:idx val="14"/>
              <c:tx>
                <c:rich>
                  <a:bodyPr/>
                  <a:lstStyle/>
                  <a:p>
                    <a:r>
                      <a:t>46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2.7</c:v>
                </c:pt>
                <c:pt idx="1">
                  <c:v>301.59</c:v>
                </c:pt>
                <c:pt idx="2">
                  <c:v>296.61</c:v>
                </c:pt>
                <c:pt idx="3">
                  <c:v>305.15</c:v>
                </c:pt>
                <c:pt idx="4">
                  <c:v>326.36</c:v>
                </c:pt>
                <c:pt idx="5">
                  <c:v>276.8</c:v>
                </c:pt>
                <c:pt idx="6">
                  <c:v>316.96</c:v>
                </c:pt>
                <c:pt idx="7">
                  <c:v>301.2</c:v>
                </c:pt>
                <c:pt idx="8">
                  <c:v>322.3</c:v>
                </c:pt>
                <c:pt idx="9">
                  <c:v>186.88</c:v>
                </c:pt>
                <c:pt idx="10">
                  <c:v>635.69</c:v>
                </c:pt>
                <c:pt idx="11">
                  <c:v>636.86</c:v>
                </c:pt>
                <c:pt idx="12">
                  <c:v>646.75</c:v>
                </c:pt>
                <c:pt idx="13">
                  <c:v>665.31</c:v>
                </c:pt>
                <c:pt idx="14">
                  <c:v>46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dLblPos val="t"/>
              <c:showLegendKey val="0"/>
              <c:showVal val="1"/>
              <c:showCatName val="0"/>
              <c:showSerName val="0"/>
              <c:showPercent val="0"/>
              <c:showBubbleSize val="0"/>
            </c:dLbl>
            <c:dLbl>
              <c:idx val="1"/>
              <c:tx>
                <c:rich>
                  <a:bodyPr/>
                  <a:lstStyle/>
                  <a:p>
                    <a:r>
                      <a:t>339.06</a:t>
                    </a:r>
                  </a:p>
                </c:rich>
              </c:tx>
              <c:dLblPos val="t"/>
              <c:showLegendKey val="0"/>
              <c:showVal val="1"/>
              <c:showCatName val="0"/>
              <c:showSerName val="0"/>
              <c:showPercent val="0"/>
              <c:showBubbleSize val="0"/>
            </c:dLbl>
            <c:dLbl>
              <c:idx val="2"/>
              <c:tx>
                <c:rich>
                  <a:bodyPr/>
                  <a:lstStyle/>
                  <a:p>
                    <a:r>
                      <a:t>330.54</a:t>
                    </a:r>
                  </a:p>
                </c:rich>
              </c:tx>
              <c:dLblPos val="t"/>
              <c:showLegendKey val="0"/>
              <c:showVal val="1"/>
              <c:showCatName val="0"/>
              <c:showSerName val="0"/>
              <c:showPercent val="0"/>
              <c:showBubbleSize val="0"/>
            </c:dLbl>
            <c:dLbl>
              <c:idx val="3"/>
              <c:tx>
                <c:rich>
                  <a:bodyPr/>
                  <a:lstStyle/>
                  <a:p>
                    <a:r>
                      <a:t>329.19</a:t>
                    </a:r>
                  </a:p>
                </c:rich>
              </c:tx>
              <c:dLblPos val="t"/>
              <c:showLegendKey val="0"/>
              <c:showVal val="1"/>
              <c:showCatName val="0"/>
              <c:showSerName val="0"/>
              <c:showPercent val="0"/>
              <c:showBubbleSize val="0"/>
            </c:dLbl>
            <c:dLbl>
              <c:idx val="4"/>
              <c:tx>
                <c:rich>
                  <a:bodyPr/>
                  <a:lstStyle/>
                  <a:p>
                    <a:r>
                      <a:t>91.75</a:t>
                    </a:r>
                  </a:p>
                </c:rich>
              </c:tx>
              <c:dLblPos val="t"/>
              <c:showLegendKey val="0"/>
              <c:showVal val="1"/>
              <c:showCatName val="0"/>
              <c:showSerName val="0"/>
              <c:showPercent val="0"/>
              <c:showBubbleSize val="0"/>
            </c:dLbl>
            <c:dLbl>
              <c:idx val="5"/>
              <c:tx>
                <c:rich>
                  <a:bodyPr/>
                  <a:lstStyle/>
                  <a:p>
                    <a:r>
                      <a:t>359.99</a:t>
                    </a:r>
                  </a:p>
                </c:rich>
              </c:tx>
              <c:dLblPos val="t"/>
              <c:showLegendKey val="0"/>
              <c:showVal val="1"/>
              <c:showCatName val="0"/>
              <c:showSerName val="0"/>
              <c:showPercent val="0"/>
              <c:showBubbleSize val="0"/>
            </c:dLbl>
            <c:dLbl>
              <c:idx val="6"/>
              <c:tx>
                <c:rich>
                  <a:bodyPr/>
                  <a:lstStyle/>
                  <a:p>
                    <a:r>
                      <a:t>417.8</a:t>
                    </a:r>
                  </a:p>
                </c:rich>
              </c:tx>
              <c:dLblPos val="t"/>
              <c:showLegendKey val="0"/>
              <c:showVal val="1"/>
              <c:showCatName val="0"/>
              <c:showSerName val="0"/>
              <c:showPercent val="0"/>
              <c:showBubbleSize val="0"/>
            </c:dLbl>
            <c:dLbl>
              <c:idx val="7"/>
              <c:tx>
                <c:rich>
                  <a:bodyPr/>
                  <a:lstStyle/>
                  <a:p>
                    <a:r>
                      <a:t>358.05</a:t>
                    </a:r>
                  </a:p>
                </c:rich>
              </c:tx>
              <c:dLblPos val="t"/>
              <c:showLegendKey val="0"/>
              <c:showVal val="1"/>
              <c:showCatName val="0"/>
              <c:showSerName val="0"/>
              <c:showPercent val="0"/>
              <c:showBubbleSize val="0"/>
            </c:dLbl>
            <c:dLbl>
              <c:idx val="8"/>
              <c:tx>
                <c:rich>
                  <a:bodyPr/>
                  <a:lstStyle/>
                  <a:p>
                    <a:r>
                      <a:t>361.98</a:t>
                    </a:r>
                  </a:p>
                </c:rich>
              </c:tx>
              <c:dLblPos val="t"/>
              <c:showLegendKey val="0"/>
              <c:showVal val="1"/>
              <c:showCatName val="0"/>
              <c:showSerName val="0"/>
              <c:showPercent val="0"/>
              <c:showBubbleSize val="0"/>
            </c:dLbl>
            <c:dLbl>
              <c:idx val="9"/>
              <c:tx>
                <c:rich>
                  <a:bodyPr/>
                  <a:lstStyle/>
                  <a:p>
                    <a:r>
                      <a:t>270.48</a:t>
                    </a:r>
                  </a:p>
                </c:rich>
              </c:tx>
              <c:dLblPos val="t"/>
              <c:showLegendKey val="0"/>
              <c:showVal val="1"/>
              <c:showCatName val="0"/>
              <c:showSerName val="0"/>
              <c:showPercent val="0"/>
              <c:showBubbleSize val="0"/>
            </c:dLbl>
            <c:dLbl>
              <c:idx val="10"/>
              <c:tx>
                <c:rich>
                  <a:bodyPr/>
                  <a:lstStyle/>
                  <a:p>
                    <a:r>
                      <a:t>88.14</a:t>
                    </a:r>
                  </a:p>
                </c:rich>
              </c:tx>
              <c:dLblPos val="t"/>
              <c:showLegendKey val="0"/>
              <c:showVal val="1"/>
              <c:showCatName val="0"/>
              <c:showSerName val="0"/>
              <c:showPercent val="0"/>
              <c:showBubbleSize val="0"/>
            </c:dLbl>
            <c:dLbl>
              <c:idx val="11"/>
              <c:tx>
                <c:rich>
                  <a:bodyPr/>
                  <a:lstStyle/>
                  <a:p>
                    <a:r>
                      <a:t>359.59</a:t>
                    </a:r>
                  </a:p>
                </c:rich>
              </c:tx>
              <c:dLblPos val="t"/>
              <c:showLegendKey val="0"/>
              <c:showVal val="1"/>
              <c:showCatName val="0"/>
              <c:showSerName val="0"/>
              <c:showPercent val="0"/>
              <c:showBubbleSize val="0"/>
            </c:dLbl>
            <c:dLbl>
              <c:idx val="12"/>
              <c:tx>
                <c:rich>
                  <a:bodyPr/>
                  <a:lstStyle/>
                  <a:p>
                    <a:r>
                      <a:t>341.27</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15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Spray Liquido 50+ 170Ml</c:v>
                </c:pt>
                <c:pt idx="2">
                  <c:v>Edgewell Banana Boat Advanced Protection Sunscreen Adults Cosmetics Liquido 50+ 240Ml</c:v>
                </c:pt>
                <c:pt idx="3">
                  <c:v>Edgewell Banana Boat Dry Balance Sunscreen Adults Sport Spray Liquido 50 220Ml</c:v>
                </c:pt>
                <c:pt idx="4">
                  <c:v>Edgewell Banana Boat Advanced Protection Sunscreen Adults Cosmetics Liquido 50+ 60Ml</c:v>
                </c:pt>
                <c:pt idx="5">
                  <c:v>Edgewell Banana Boat Mineral Sunscreen Kids Cosmetics Locion 50 180Ml</c:v>
                </c:pt>
                <c:pt idx="6">
                  <c:v>Edgewell Banana Boat Banded Pack Banded Pack 2X Sunscreen Multi 50+ 170Ml</c:v>
                </c:pt>
                <c:pt idx="7">
                  <c:v>Edgewell Banana Boat Mineral Sunscreen Adults Sport Locion 50 180Ml</c:v>
                </c:pt>
                <c:pt idx="8">
                  <c:v>Edgewell Banana Boat Mineral Sunscreen Adults Cosmetics Locion 50 180Ml</c:v>
                </c:pt>
                <c:pt idx="9">
                  <c:v>Edgewell Banana Boat Dry Balance Sunscreen Adults Cosmetics Spray Crema 50+ 220Ml</c:v>
                </c:pt>
                <c:pt idx="10">
                  <c:v>Edgewell Banana Boat Dry Balance Sunscreen Adults Sport Locion 50+ 60Ml</c:v>
                </c:pt>
                <c:pt idx="11">
                  <c:v>Edgewell Banana Boat Dry Balance Sunscreen Adults Sport Crema 50+ 180Ml</c:v>
                </c:pt>
                <c:pt idx="12">
                  <c:v>Edgewell Banana Boat Aqua Protect Sunscreen Adults Cosmetics Crema 50+ 236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48.86</c:v>
                </c:pt>
                <c:pt idx="1">
                  <c:v>339.06</c:v>
                </c:pt>
                <c:pt idx="2">
                  <c:v>330.54</c:v>
                </c:pt>
                <c:pt idx="3">
                  <c:v>329.19</c:v>
                </c:pt>
                <c:pt idx="4">
                  <c:v>91.75</c:v>
                </c:pt>
                <c:pt idx="5">
                  <c:v>359.99</c:v>
                </c:pt>
                <c:pt idx="6">
                  <c:v>417.8</c:v>
                </c:pt>
                <c:pt idx="7">
                  <c:v>358.05</c:v>
                </c:pt>
                <c:pt idx="8">
                  <c:v>361.98</c:v>
                </c:pt>
                <c:pt idx="9">
                  <c:v>270.48</c:v>
                </c:pt>
                <c:pt idx="10">
                  <c:v>88.14</c:v>
                </c:pt>
                <c:pt idx="11">
                  <c:v>359.59</c:v>
                </c:pt>
                <c:pt idx="12">
                  <c:v>341.27</c:v>
                </c:pt>
                <c:pt idx="13">
                  <c:v>330.0</c:v>
                </c:pt>
                <c:pt idx="14">
                  <c:v>15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3.99</a:t>
                    </a:r>
                  </a:p>
                </c:rich>
              </c:tx>
              <c:showLegendKey val="0"/>
              <c:showVal val="1"/>
              <c:showCatName val="0"/>
              <c:showSerName val="0"/>
              <c:showPercent val="0"/>
              <c:showBubbleSize val="0"/>
            </c:dLbl>
            <c:dLbl>
              <c:idx val="3"/>
              <c:tx>
                <c:rich>
                  <a:bodyPr/>
                  <a:lstStyle/>
                  <a:p>
                    <a:r>
                      <a:t>308.69</a:t>
                    </a:r>
                  </a:p>
                </c:rich>
              </c:tx>
              <c:showLegendKey val="0"/>
              <c:showVal val="1"/>
              <c:showCatName val="0"/>
              <c:showSerName val="0"/>
              <c:showPercent val="0"/>
              <c:showBubbleSize val="0"/>
            </c:dLbl>
            <c:dLbl>
              <c:idx val="4"/>
              <c:tx>
                <c:rich>
                  <a:bodyPr/>
                  <a:lstStyle/>
                  <a:p>
                    <a:r>
                      <a:t>338.04</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312.74</a:t>
                    </a:r>
                  </a:p>
                </c:rich>
              </c:tx>
              <c:showLegendKey val="0"/>
              <c:showVal val="1"/>
              <c:showCatName val="0"/>
              <c:showSerName val="0"/>
              <c:showPercent val="0"/>
              <c:showBubbleSize val="0"/>
            </c:dLbl>
            <c:dLbl>
              <c:idx val="8"/>
              <c:tx>
                <c:rich>
                  <a:bodyPr/>
                  <a:lstStyle/>
                  <a:p>
                    <a:r>
                      <a:t>318.97</a:t>
                    </a:r>
                  </a:p>
                </c:rich>
              </c:tx>
              <c:showLegendKey val="0"/>
              <c:showVal val="1"/>
              <c:showCatName val="0"/>
              <c:showSerName val="0"/>
              <c:showPercent val="0"/>
              <c:showBubbleSize val="0"/>
            </c:dLbl>
            <c:dLbl>
              <c:idx val="9"/>
              <c:tx>
                <c:rich>
                  <a:bodyPr/>
                  <a:lstStyle/>
                  <a:p>
                    <a:r>
                      <a:t>186.08</a:t>
                    </a:r>
                  </a:p>
                </c:rich>
              </c:tx>
              <c:showLegendKey val="0"/>
              <c:showVal val="1"/>
              <c:showCatName val="0"/>
              <c:showSerName val="0"/>
              <c:showPercent val="0"/>
              <c:showBubbleSize val="0"/>
            </c:dLbl>
            <c:dLbl>
              <c:idx val="10"/>
              <c:tx>
                <c:rich>
                  <a:bodyPr/>
                  <a:lstStyle/>
                  <a:p>
                    <a:r>
                      <a:t>635.1</a:t>
                    </a:r>
                  </a:p>
                </c:rich>
              </c:tx>
              <c:showLegendKey val="0"/>
              <c:showVal val="1"/>
              <c:showCatName val="0"/>
              <c:showSerName val="0"/>
              <c:showPercent val="0"/>
              <c:showBubbleSize val="0"/>
            </c:dLbl>
            <c:dLbl>
              <c:idx val="11"/>
              <c:tx>
                <c:rich>
                  <a:bodyPr/>
                  <a:lstStyle/>
                  <a:p>
                    <a:r>
                      <a:t>641.3</a:t>
                    </a:r>
                  </a:p>
                </c:rich>
              </c:tx>
              <c:showLegendKey val="0"/>
              <c:showVal val="1"/>
              <c:showCatName val="0"/>
              <c:showSerName val="0"/>
              <c:showPercent val="0"/>
              <c:showBubbleSize val="0"/>
            </c:dLbl>
            <c:dLbl>
              <c:idx val="12"/>
              <c:tx>
                <c:rich>
                  <a:bodyPr/>
                  <a:lstStyle/>
                  <a:p>
                    <a:r>
                      <a:t>647.88</a:t>
                    </a:r>
                  </a:p>
                </c:rich>
              </c:tx>
              <c:showLegendKey val="0"/>
              <c:showVal val="1"/>
              <c:showCatName val="0"/>
              <c:showSerName val="0"/>
              <c:showPercent val="0"/>
              <c:showBubbleSize val="0"/>
            </c:dLbl>
            <c:dLbl>
              <c:idx val="13"/>
              <c:tx>
                <c:rich>
                  <a:bodyPr/>
                  <a:lstStyle/>
                  <a:p>
                    <a:r>
                      <a:t>648.88</a:t>
                    </a:r>
                  </a:p>
                </c:rich>
              </c:tx>
              <c:showLegendKey val="0"/>
              <c:showVal val="1"/>
              <c:showCatName val="0"/>
              <c:showSerName val="0"/>
              <c:showPercent val="0"/>
              <c:showBubbleSize val="0"/>
            </c:dLbl>
            <c:dLbl>
              <c:idx val="14"/>
              <c:tx>
                <c:rich>
                  <a:bodyPr/>
                  <a:lstStyle/>
                  <a:p>
                    <a:r>
                      <a:t>465.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5.74</c:v>
                </c:pt>
                <c:pt idx="1">
                  <c:v>306.84</c:v>
                </c:pt>
                <c:pt idx="2">
                  <c:v>303.99</c:v>
                </c:pt>
                <c:pt idx="3">
                  <c:v>308.69</c:v>
                </c:pt>
                <c:pt idx="4">
                  <c:v>338.04</c:v>
                </c:pt>
                <c:pt idx="5">
                  <c:v>281.56</c:v>
                </c:pt>
                <c:pt idx="6">
                  <c:v>316.47</c:v>
                </c:pt>
                <c:pt idx="7">
                  <c:v>312.74</c:v>
                </c:pt>
                <c:pt idx="8">
                  <c:v>318.97</c:v>
                </c:pt>
                <c:pt idx="9">
                  <c:v>186.08</c:v>
                </c:pt>
                <c:pt idx="10">
                  <c:v>635.1</c:v>
                </c:pt>
                <c:pt idx="11">
                  <c:v>641.3</c:v>
                </c:pt>
                <c:pt idx="12">
                  <c:v>647.88</c:v>
                </c:pt>
                <c:pt idx="13">
                  <c:v>648.88</c:v>
                </c:pt>
                <c:pt idx="14">
                  <c:v>465.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8.86</a:t>
                    </a:r>
                  </a:p>
                </c:rich>
              </c:tx>
              <c:showLegendKey val="0"/>
              <c:showVal val="1"/>
              <c:showCatName val="0"/>
              <c:showSerName val="0"/>
              <c:showPercent val="0"/>
              <c:showBubbleSize val="0"/>
            </c:dLbl>
            <c:dLbl>
              <c:idx val="3"/>
              <c:tx>
                <c:rich>
                  <a:bodyPr/>
                  <a:lstStyle/>
                  <a:p>
                    <a:r>
                      <a:t>159.67</a:t>
                    </a:r>
                  </a:p>
                </c:rich>
              </c:tx>
              <c:showLegendKey val="0"/>
              <c:showVal val="1"/>
              <c:showCatName val="0"/>
              <c:showSerName val="0"/>
              <c:showPercent val="0"/>
              <c:showBubbleSize val="0"/>
            </c:dLbl>
            <c:dLbl>
              <c:idx val="4"/>
              <c:tx>
                <c:rich>
                  <a:bodyPr/>
                  <a:lstStyle/>
                  <a:p>
                    <a:r>
                      <a:t>347.12</a:t>
                    </a:r>
                  </a:p>
                </c:rich>
              </c:tx>
              <c:showLegendKey val="0"/>
              <c:showVal val="1"/>
              <c:showCatName val="0"/>
              <c:showSerName val="0"/>
              <c:showPercent val="0"/>
              <c:showBubbleSize val="0"/>
            </c:dLbl>
            <c:dLbl>
              <c:idx val="5"/>
              <c:tx>
                <c:rich>
                  <a:bodyPr/>
                  <a:lstStyle/>
                  <a:p>
                    <a:r>
                      <a:t>655.36</a:t>
                    </a:r>
                  </a:p>
                </c:rich>
              </c:tx>
              <c:showLegendKey val="0"/>
              <c:showVal val="1"/>
              <c:showCatName val="0"/>
              <c:showSerName val="0"/>
              <c:showPercent val="0"/>
              <c:showBubbleSize val="0"/>
            </c:dLbl>
            <c:dLbl>
              <c:idx val="6"/>
              <c:tx>
                <c:rich>
                  <a:bodyPr/>
                  <a:lstStyle/>
                  <a:p>
                    <a:r>
                      <a:t>716.41</a:t>
                    </a:r>
                  </a:p>
                </c:rich>
              </c:tx>
              <c:showLegendKey val="0"/>
              <c:showVal val="1"/>
              <c:showCatName val="0"/>
              <c:showSerName val="0"/>
              <c:showPercent val="0"/>
              <c:showBubbleSize val="0"/>
            </c:dLbl>
            <c:dLbl>
              <c:idx val="7"/>
              <c:tx>
                <c:rich>
                  <a:bodyPr/>
                  <a:lstStyle/>
                  <a:p>
                    <a:r>
                      <a:t>315.86</a:t>
                    </a:r>
                  </a:p>
                </c:rich>
              </c:tx>
              <c:showLegendKey val="0"/>
              <c:showVal val="1"/>
              <c:showCatName val="0"/>
              <c:showSerName val="0"/>
              <c:showPercent val="0"/>
              <c:showBubbleSize val="0"/>
            </c:dLbl>
            <c:dLbl>
              <c:idx val="8"/>
              <c:tx>
                <c:rich>
                  <a:bodyPr/>
                  <a:lstStyle/>
                  <a:p>
                    <a:r>
                      <a:t>350.73</a:t>
                    </a:r>
                  </a:p>
                </c:rich>
              </c:tx>
              <c:showLegendKey val="0"/>
              <c:showVal val="1"/>
              <c:showCatName val="0"/>
              <c:showSerName val="0"/>
              <c:showPercent val="0"/>
              <c:showBubbleSize val="0"/>
            </c:dLbl>
            <c:dLbl>
              <c:idx val="9"/>
              <c:tx>
                <c:rich>
                  <a:bodyPr/>
                  <a:lstStyle/>
                  <a:p>
                    <a:r>
                      <a:t>695.61</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42</a:t>
                    </a:r>
                  </a:p>
                </c:rich>
              </c:tx>
              <c:showLegendKey val="0"/>
              <c:showVal val="1"/>
              <c:showCatName val="0"/>
              <c:showSerName val="0"/>
              <c:showPercent val="0"/>
              <c:showBubbleSize val="0"/>
            </c:dLbl>
            <c:dLbl>
              <c:idx val="13"/>
              <c:tx>
                <c:rich>
                  <a:bodyPr/>
                  <a:lstStyle/>
                  <a:p>
                    <a:r>
                      <a:t>652.95</a:t>
                    </a:r>
                  </a:p>
                </c:rich>
              </c:tx>
              <c:showLegendKey val="0"/>
              <c:showVal val="1"/>
              <c:showCatName val="0"/>
              <c:showSerName val="0"/>
              <c:showPercent val="0"/>
              <c:showBubbleSize val="0"/>
            </c:dLbl>
            <c:dLbl>
              <c:idx val="14"/>
              <c:tx>
                <c:rich>
                  <a:bodyPr/>
                  <a:lstStyle/>
                  <a:p>
                    <a:r>
                      <a:t>467.39</a:t>
                    </a:r>
                  </a:p>
                </c:rich>
              </c:tx>
              <c:showLegendKey val="0"/>
              <c:showVal val="1"/>
              <c:showCatName val="0"/>
              <c:showSerName val="0"/>
              <c:showPercent val="0"/>
              <c:showBubbleSize val="0"/>
            </c:dLbl>
            <c:dLbl>
              <c:idx val="15"/>
              <c:tx>
                <c:rich>
                  <a:bodyPr/>
                  <a:lstStyle/>
                  <a:p>
                    <a:r>
                      <a:t>633.15</a:t>
                    </a:r>
                  </a:p>
                </c:rich>
              </c:tx>
              <c:showLegendKey val="0"/>
              <c:showVal val="1"/>
              <c:showCatName val="0"/>
              <c:showSerName val="0"/>
              <c:showPercent val="0"/>
              <c:showBubbleSize val="0"/>
            </c:dLbl>
            <c:dLbl>
              <c:idx val="16"/>
              <c:tx>
                <c:rich>
                  <a:bodyPr/>
                  <a:lstStyle/>
                  <a:p>
                    <a:r>
                      <a:t>596.69</a:t>
                    </a:r>
                  </a:p>
                </c:rich>
              </c:tx>
              <c:showLegendKey val="0"/>
              <c:showVal val="1"/>
              <c:showCatName val="0"/>
              <c:showSerName val="0"/>
              <c:showPercent val="0"/>
              <c:showBubbleSize val="0"/>
            </c:dLbl>
            <c:dLbl>
              <c:idx val="17"/>
              <c:tx>
                <c:rich>
                  <a:bodyPr/>
                  <a:lstStyle/>
                  <a:p>
                    <a:r>
                      <a:t>601.16</a:t>
                    </a:r>
                  </a:p>
                </c:rich>
              </c:tx>
              <c:showLegendKey val="0"/>
              <c:showVal val="1"/>
              <c:showCatName val="0"/>
              <c:showSerName val="0"/>
              <c:showPercent val="0"/>
              <c:showBubbleSize val="0"/>
            </c:dLbl>
            <c:dLbl>
              <c:idx val="18"/>
              <c:tx>
                <c:rich>
                  <a:bodyPr/>
                  <a:lstStyle/>
                  <a:p>
                    <a:r>
                      <a:t>843.38</a:t>
                    </a:r>
                  </a:p>
                </c:rich>
              </c:tx>
              <c:showLegendKey val="0"/>
              <c:showVal val="1"/>
              <c:showCatName val="0"/>
              <c:showSerName val="0"/>
              <c:showPercent val="0"/>
              <c:showBubbleSize val="0"/>
            </c:dLbl>
            <c:dLbl>
              <c:idx val="19"/>
              <c:tx>
                <c:rich>
                  <a:bodyPr/>
                  <a:lstStyle/>
                  <a:p>
                    <a:r>
                      <a:t>90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After Sun After Sun Adults Cosmetics Gel 0 - 5 230Ml</c:v>
                </c:pt>
                <c:pt idx="4">
                  <c:v>Edgewell Hawaiian Tropic Island Sport Sunscreen Adults Sport Spray Liquido 50 220Ml</c:v>
                </c:pt>
                <c:pt idx="5">
                  <c:v>Beiersdorf Eucerin Sunscreen Adults Derma Gel 50+ 50Ml</c:v>
                </c:pt>
                <c:pt idx="6">
                  <c:v>Beiersdorf Eucerin Sunscreen Adults Derma Crema 50+ 50Ml</c:v>
                </c:pt>
                <c:pt idx="7">
                  <c:v>Beiersdorf Nivea Sunscreen Adults Cosmetics Crema 50 50Ml</c:v>
                </c:pt>
                <c:pt idx="8">
                  <c:v>Beiersdorf Nivea Sunscreen Adults Cosmetics Liquido 50 200Ml</c:v>
                </c:pt>
                <c:pt idx="9">
                  <c:v>Beiersdorf Eucerin Sunscreen Adults Derma Gel-Crema 50+ 50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pt idx="15">
                  <c:v>L'Oreal La Roche-Posay Sunscreen Adults Derma Fluido 50+ 50Ml</c:v>
                </c:pt>
                <c:pt idx="16">
                  <c:v>L'Oreal La Roche-Posay Sunscreen Adults Derma Gel 50+ 50Ml</c:v>
                </c:pt>
                <c:pt idx="17">
                  <c:v>L'Oreal La Roche-Posay Sunscreen Adults Derma Crema 50 50Ml</c:v>
                </c:pt>
                <c:pt idx="18">
                  <c:v>L'Oreal La Roche-Posay Sunscreen Adults Derma Crema 50+ 50Ml</c:v>
                </c:pt>
                <c:pt idx="19">
                  <c:v>L'Oreal Vichy Sunscreen Adults Derma Crema 50 300Ml</c:v>
                </c:pt>
              </c:strCache>
            </c:strRef>
          </c:cat>
          <c:val>
            <c:numRef>
              <c:f>Sheet1!$B$2:$B$21</c:f>
              <c:numCache>
                <c:formatCode>General</c:formatCode>
                <c:ptCount val="20"/>
                <c:pt idx="0">
                  <c:v>305.33</c:v>
                </c:pt>
                <c:pt idx="1">
                  <c:v>318.53</c:v>
                </c:pt>
                <c:pt idx="2">
                  <c:v>348.86</c:v>
                </c:pt>
                <c:pt idx="3">
                  <c:v>159.67</c:v>
                </c:pt>
                <c:pt idx="4">
                  <c:v>347.12</c:v>
                </c:pt>
                <c:pt idx="5">
                  <c:v>655.36</c:v>
                </c:pt>
                <c:pt idx="6">
                  <c:v>716.41</c:v>
                </c:pt>
                <c:pt idx="7">
                  <c:v>315.86</c:v>
                </c:pt>
                <c:pt idx="8">
                  <c:v>350.73</c:v>
                </c:pt>
                <c:pt idx="9">
                  <c:v>695.61</c:v>
                </c:pt>
                <c:pt idx="10">
                  <c:v>634.08</c:v>
                </c:pt>
                <c:pt idx="11">
                  <c:v>642.22</c:v>
                </c:pt>
                <c:pt idx="12">
                  <c:v>649.42</c:v>
                </c:pt>
                <c:pt idx="13">
                  <c:v>652.95</c:v>
                </c:pt>
                <c:pt idx="14">
                  <c:v>467.39</c:v>
                </c:pt>
                <c:pt idx="15">
                  <c:v>633.15</c:v>
                </c:pt>
                <c:pt idx="16">
                  <c:v>596.69</c:v>
                </c:pt>
                <c:pt idx="17">
                  <c:v>601.16</c:v>
                </c:pt>
                <c:pt idx="18">
                  <c:v>843.38</c:v>
                </c:pt>
                <c:pt idx="19">
                  <c:v>90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96.8</a:t>
                    </a:r>
                  </a:p>
                </c:rich>
              </c:tx>
              <c:showLegendKey val="0"/>
              <c:showVal val="1"/>
              <c:showCatName val="0"/>
              <c:showSerName val="0"/>
              <c:showPercent val="0"/>
              <c:showBubbleSize val="0"/>
            </c:dLbl>
            <c:dLbl>
              <c:idx val="3"/>
              <c:tx>
                <c:rich>
                  <a:bodyPr/>
                  <a:lstStyle/>
                  <a:p>
                    <a:r>
                      <a:t>234.59</a:t>
                    </a:r>
                  </a:p>
                </c:rich>
              </c:tx>
              <c:showLegendKey val="0"/>
              <c:showVal val="1"/>
              <c:showCatName val="0"/>
              <c:showSerName val="0"/>
              <c:showPercent val="0"/>
              <c:showBubbleSize val="0"/>
            </c:dLbl>
            <c:dLbl>
              <c:idx val="4"/>
              <c:tx>
                <c:rich>
                  <a:bodyPr/>
                  <a:lstStyle/>
                  <a:p>
                    <a:r>
                      <a:t>220.0</a:t>
                    </a:r>
                  </a:p>
                </c:rich>
              </c:tx>
              <c:showLegendKey val="0"/>
              <c:showVal val="1"/>
              <c:showCatName val="0"/>
              <c:showSerName val="0"/>
              <c:showPercent val="0"/>
              <c:showBubbleSize val="0"/>
            </c:dLbl>
            <c:dLbl>
              <c:idx val="5"/>
              <c:tx>
                <c:rich>
                  <a:bodyPr/>
                  <a:lstStyle/>
                  <a:p>
                    <a:r>
                      <a:t>188.63</a:t>
                    </a:r>
                  </a:p>
                </c:rich>
              </c:tx>
              <c:showLegendKey val="0"/>
              <c:showVal val="1"/>
              <c:showCatName val="0"/>
              <c:showSerName val="0"/>
              <c:showPercent val="0"/>
              <c:showBubbleSize val="0"/>
            </c:dLbl>
            <c:dLbl>
              <c:idx val="6"/>
              <c:tx>
                <c:rich>
                  <a:bodyPr/>
                  <a:lstStyle/>
                  <a:p>
                    <a:r>
                      <a:t>294.01</a:t>
                    </a:r>
                  </a:p>
                </c:rich>
              </c:tx>
              <c:showLegendKey val="0"/>
              <c:showVal val="1"/>
              <c:showCatName val="0"/>
              <c:showSerName val="0"/>
              <c:showPercent val="0"/>
              <c:showBubbleSize val="0"/>
            </c:dLbl>
            <c:dLbl>
              <c:idx val="7"/>
              <c:tx>
                <c:rich>
                  <a:bodyPr/>
                  <a:lstStyle/>
                  <a:p>
                    <a:r>
                      <a:t>232.54</a:t>
                    </a:r>
                  </a:p>
                </c:rich>
              </c:tx>
              <c:showLegendKey val="0"/>
              <c:showVal val="1"/>
              <c:showCatName val="0"/>
              <c:showSerName val="0"/>
              <c:showPercent val="0"/>
              <c:showBubbleSize val="0"/>
            </c:dLbl>
            <c:dLbl>
              <c:idx val="8"/>
              <c:tx>
                <c:rich>
                  <a:bodyPr/>
                  <a:lstStyle/>
                  <a:p>
                    <a:r>
                      <a:t>295.0</a:t>
                    </a:r>
                  </a:p>
                </c:rich>
              </c:tx>
              <c:showLegendKey val="0"/>
              <c:showVal val="1"/>
              <c:showCatName val="0"/>
              <c:showSerName val="0"/>
              <c:showPercent val="0"/>
              <c:showBubbleSize val="0"/>
            </c:dLbl>
            <c:dLbl>
              <c:idx val="9"/>
              <c:tx>
                <c:rich>
                  <a:bodyPr/>
                  <a:lstStyle/>
                  <a:p>
                    <a:r>
                      <a:t>362.53</a:t>
                    </a:r>
                  </a:p>
                </c:rich>
              </c:tx>
              <c:showLegendKey val="0"/>
              <c:showVal val="1"/>
              <c:showCatName val="0"/>
              <c:showSerName val="0"/>
              <c:showPercent val="0"/>
              <c:showBubbleSize val="0"/>
            </c:dLbl>
            <c:dLbl>
              <c:idx val="10"/>
              <c:tx>
                <c:rich>
                  <a:bodyPr/>
                  <a:lstStyle/>
                  <a:p>
                    <a:r>
                      <a:t>453.61</a:t>
                    </a:r>
                  </a:p>
                </c:rich>
              </c:tx>
              <c:showLegendKey val="0"/>
              <c:showVal val="1"/>
              <c:showCatName val="0"/>
              <c:showSerName val="0"/>
              <c:showPercent val="0"/>
              <c:showBubbleSize val="0"/>
            </c:dLbl>
            <c:dLbl>
              <c:idx val="11"/>
              <c:tx>
                <c:rich>
                  <a:bodyPr/>
                  <a:lstStyle/>
                  <a:p>
                    <a:r>
                      <a:t>450.0</a:t>
                    </a:r>
                  </a:p>
                </c:rich>
              </c:tx>
              <c:showLegendKey val="0"/>
              <c:showVal val="1"/>
              <c:showCatName val="0"/>
              <c:showSerName val="0"/>
              <c:showPercent val="0"/>
              <c:showBubbleSize val="0"/>
            </c:dLbl>
            <c:dLbl>
              <c:idx val="12"/>
              <c:tx>
                <c:rich>
                  <a:bodyPr/>
                  <a:lstStyle/>
                  <a:p>
                    <a:r>
                      <a:t>156.91</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8</a:t>
                    </a:r>
                  </a:p>
                </c:rich>
              </c:tx>
              <c:showLegendKey val="0"/>
              <c:showVal val="1"/>
              <c:showCatName val="0"/>
              <c:showSerName val="0"/>
              <c:showPercent val="0"/>
              <c:showBubbleSize val="0"/>
            </c:dLbl>
            <c:dLbl>
              <c:idx val="15"/>
              <c:tx>
                <c:rich>
                  <a:bodyPr/>
                  <a:lstStyle/>
                  <a:p>
                    <a:r>
                      <a:t>155.07</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Beiersdorf Nivea Sunscreen Adults Cosmetics Liquido 50+ 125Ml</c:v>
                </c:pt>
                <c:pt idx="6">
                  <c:v>Beiersdorf Nivea Sunscreen Adults Cosmetics Crema 50+ 200Ml</c:v>
                </c:pt>
                <c:pt idx="7">
                  <c:v>Beiersdorf Nivea Sunscreen Adults Cosmetics Crema 50 50Ml</c:v>
                </c:pt>
                <c:pt idx="8">
                  <c:v>Beiersdorf Nivea Sunscreen Kids Cosmetics Liquido 50+ 200Ml</c:v>
                </c:pt>
                <c:pt idx="9">
                  <c:v>Beiersdorf Nivea Sunscreen Adults Cosmetics Spray Liquido 50 200Ml</c:v>
                </c:pt>
                <c:pt idx="10">
                  <c:v>Isdin Isdin Sunscreen Adults Derma Crema 50 50Ml</c:v>
                </c:pt>
                <c:pt idx="11">
                  <c:v>Isdin Isdin Sunscreen Adults Derma Crema 50+ 5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96.8</c:v>
                </c:pt>
                <c:pt idx="3">
                  <c:v>234.59</c:v>
                </c:pt>
                <c:pt idx="4">
                  <c:v>220.0</c:v>
                </c:pt>
                <c:pt idx="5">
                  <c:v>188.63</c:v>
                </c:pt>
                <c:pt idx="6">
                  <c:v>294.01</c:v>
                </c:pt>
                <c:pt idx="7">
                  <c:v>232.54</c:v>
                </c:pt>
                <c:pt idx="8">
                  <c:v>295.0</c:v>
                </c:pt>
                <c:pt idx="9">
                  <c:v>362.53</c:v>
                </c:pt>
                <c:pt idx="10">
                  <c:v>453.61</c:v>
                </c:pt>
                <c:pt idx="11">
                  <c:v>450.0</c:v>
                </c:pt>
                <c:pt idx="12">
                  <c:v>156.91</c:v>
                </c:pt>
                <c:pt idx="13">
                  <c:v>118.11</c:v>
                </c:pt>
                <c:pt idx="14">
                  <c:v>178.8</c:v>
                </c:pt>
                <c:pt idx="15">
                  <c:v>155.07</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281.61</a:t>
                    </a:r>
                  </a:p>
                </c:rich>
              </c:tx>
              <c:showLegendKey val="0"/>
              <c:showVal val="1"/>
              <c:showCatName val="0"/>
              <c:showSerName val="0"/>
              <c:showPercent val="0"/>
              <c:showBubbleSize val="0"/>
            </c:dLbl>
            <c:dLbl>
              <c:idx val="4"/>
              <c:tx>
                <c:rich>
                  <a:bodyPr/>
                  <a:lstStyle/>
                  <a:p>
                    <a:r>
                      <a:t>326.5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6</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3</a:t>
                    </a:r>
                  </a:p>
                </c:rich>
              </c:tx>
              <c:showLegendKey val="0"/>
              <c:showVal val="1"/>
              <c:showCatName val="0"/>
              <c:showSerName val="0"/>
              <c:showPercent val="0"/>
              <c:showBubbleSize val="0"/>
            </c:dLbl>
            <c:dLbl>
              <c:idx val="10"/>
              <c:tx>
                <c:rich>
                  <a:bodyPr/>
                  <a:lstStyle/>
                  <a:p>
                    <a:r>
                      <a:t>227.46</a:t>
                    </a:r>
                  </a:p>
                </c:rich>
              </c:tx>
              <c:showLegendKey val="0"/>
              <c:showVal val="1"/>
              <c:showCatName val="0"/>
              <c:showSerName val="0"/>
              <c:showPercent val="0"/>
              <c:showBubbleSize val="0"/>
            </c:dLbl>
            <c:dLbl>
              <c:idx val="11"/>
              <c:tx>
                <c:rich>
                  <a:bodyPr/>
                  <a:lstStyle/>
                  <a:p>
                    <a:r>
                      <a:t>325.47</a:t>
                    </a:r>
                  </a:p>
                </c:rich>
              </c:tx>
              <c:showLegendKey val="0"/>
              <c:showVal val="1"/>
              <c:showCatName val="0"/>
              <c:showSerName val="0"/>
              <c:showPercent val="0"/>
              <c:showBubbleSize val="0"/>
            </c:dLbl>
            <c:dLbl>
              <c:idx val="12"/>
              <c:tx>
                <c:rich>
                  <a:bodyPr/>
                  <a:lstStyle/>
                  <a:p>
                    <a:r>
                      <a:t>271.09</a:t>
                    </a:r>
                  </a:p>
                </c:rich>
              </c:tx>
              <c:showLegendKey val="0"/>
              <c:showVal val="1"/>
              <c:showCatName val="0"/>
              <c:showSerName val="0"/>
              <c:showPercent val="0"/>
              <c:showBubbleSize val="0"/>
            </c:dLbl>
            <c:dLbl>
              <c:idx val="13"/>
              <c:tx>
                <c:rich>
                  <a:bodyPr/>
                  <a:lstStyle/>
                  <a:p>
                    <a:r>
                      <a:t>618.85</a:t>
                    </a:r>
                  </a:p>
                </c:rich>
              </c:tx>
              <c:showLegendKey val="0"/>
              <c:showVal val="1"/>
              <c:showCatName val="0"/>
              <c:showSerName val="0"/>
              <c:showPercent val="0"/>
              <c:showBubbleSize val="0"/>
            </c:dLbl>
            <c:dLbl>
              <c:idx val="14"/>
              <c:tx>
                <c:rich>
                  <a:bodyPr/>
                  <a:lstStyle/>
                  <a:p>
                    <a:r>
                      <a:t>617.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Banded Pack Sunscreen + O.O.S Multi 50+ 50Ml</c:v>
                </c:pt>
              </c:strCache>
            </c:strRef>
          </c:cat>
          <c:val>
            <c:numRef>
              <c:f>Sheet1!$B$2:$B$16</c:f>
              <c:numCache>
                <c:formatCode>General</c:formatCode>
                <c:ptCount val="15"/>
                <c:pt idx="0">
                  <c:v>305.12</c:v>
                </c:pt>
                <c:pt idx="1">
                  <c:v>312.14</c:v>
                </c:pt>
                <c:pt idx="2">
                  <c:v>305.29</c:v>
                </c:pt>
                <c:pt idx="3">
                  <c:v>281.61</c:v>
                </c:pt>
                <c:pt idx="4">
                  <c:v>326.59</c:v>
                </c:pt>
                <c:pt idx="5">
                  <c:v>305.54</c:v>
                </c:pt>
                <c:pt idx="6">
                  <c:v>271.17</c:v>
                </c:pt>
                <c:pt idx="7">
                  <c:v>300.66</c:v>
                </c:pt>
                <c:pt idx="8">
                  <c:v>305.45</c:v>
                </c:pt>
                <c:pt idx="9">
                  <c:v>187.83</c:v>
                </c:pt>
                <c:pt idx="10">
                  <c:v>227.46</c:v>
                </c:pt>
                <c:pt idx="11">
                  <c:v>325.47</c:v>
                </c:pt>
                <c:pt idx="12">
                  <c:v>271.09</c:v>
                </c:pt>
                <c:pt idx="13">
                  <c:v>618.85</c:v>
                </c:pt>
                <c:pt idx="14">
                  <c:v>617.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296.61</a:t>
                    </a:r>
                  </a:p>
                </c:rich>
              </c:tx>
              <c:showLegendKey val="0"/>
              <c:showVal val="1"/>
              <c:showCatName val="0"/>
              <c:showSerName val="0"/>
              <c:showPercent val="0"/>
              <c:showBubbleSize val="0"/>
            </c:dLbl>
            <c:dLbl>
              <c:idx val="3"/>
              <c:tx>
                <c:rich>
                  <a:bodyPr/>
                  <a:lstStyle/>
                  <a:p>
                    <a:r>
                      <a:t>305.15</a:t>
                    </a:r>
                  </a:p>
                </c:rich>
              </c:tx>
              <c:showLegendKey val="0"/>
              <c:showVal val="1"/>
              <c:showCatName val="0"/>
              <c:showSerName val="0"/>
              <c:showPercent val="0"/>
              <c:showBubbleSize val="0"/>
            </c:dLbl>
            <c:dLbl>
              <c:idx val="4"/>
              <c:tx>
                <c:rich>
                  <a:bodyPr/>
                  <a:lstStyle/>
                  <a:p>
                    <a:r>
                      <a:t>326.36</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301.2</a:t>
                    </a:r>
                  </a:p>
                </c:rich>
              </c:tx>
              <c:showLegendKey val="0"/>
              <c:showVal val="1"/>
              <c:showCatName val="0"/>
              <c:showSerName val="0"/>
              <c:showPercent val="0"/>
              <c:showBubbleSize val="0"/>
            </c:dLbl>
            <c:dLbl>
              <c:idx val="8"/>
              <c:tx>
                <c:rich>
                  <a:bodyPr/>
                  <a:lstStyle/>
                  <a:p>
                    <a:r>
                      <a:t>322.3</a:t>
                    </a:r>
                  </a:p>
                </c:rich>
              </c:tx>
              <c:showLegendKey val="0"/>
              <c:showVal val="1"/>
              <c:showCatName val="0"/>
              <c:showSerName val="0"/>
              <c:showPercent val="0"/>
              <c:showBubbleSize val="0"/>
            </c:dLbl>
            <c:dLbl>
              <c:idx val="9"/>
              <c:tx>
                <c:rich>
                  <a:bodyPr/>
                  <a:lstStyle/>
                  <a:p>
                    <a:r>
                      <a:t>186.88</a:t>
                    </a:r>
                  </a:p>
                </c:rich>
              </c:tx>
              <c:showLegendKey val="0"/>
              <c:showVal val="1"/>
              <c:showCatName val="0"/>
              <c:showSerName val="0"/>
              <c:showPercent val="0"/>
              <c:showBubbleSize val="0"/>
            </c:dLbl>
            <c:dLbl>
              <c:idx val="10"/>
              <c:tx>
                <c:rich>
                  <a:bodyPr/>
                  <a:lstStyle/>
                  <a:p>
                    <a:r>
                      <a:t>635.69</a:t>
                    </a:r>
                  </a:p>
                </c:rich>
              </c:tx>
              <c:showLegendKey val="0"/>
              <c:showVal val="1"/>
              <c:showCatName val="0"/>
              <c:showSerName val="0"/>
              <c:showPercent val="0"/>
              <c:showBubbleSize val="0"/>
            </c:dLbl>
            <c:dLbl>
              <c:idx val="11"/>
              <c:tx>
                <c:rich>
                  <a:bodyPr/>
                  <a:lstStyle/>
                  <a:p>
                    <a:r>
                      <a:t>636.86</a:t>
                    </a:r>
                  </a:p>
                </c:rich>
              </c:tx>
              <c:showLegendKey val="0"/>
              <c:showVal val="1"/>
              <c:showCatName val="0"/>
              <c:showSerName val="0"/>
              <c:showPercent val="0"/>
              <c:showBubbleSize val="0"/>
            </c:dLbl>
            <c:dLbl>
              <c:idx val="12"/>
              <c:tx>
                <c:rich>
                  <a:bodyPr/>
                  <a:lstStyle/>
                  <a:p>
                    <a:r>
                      <a:t>646.75</a:t>
                    </a:r>
                  </a:p>
                </c:rich>
              </c:tx>
              <c:showLegendKey val="0"/>
              <c:showVal val="1"/>
              <c:showCatName val="0"/>
              <c:showSerName val="0"/>
              <c:showPercent val="0"/>
              <c:showBubbleSize val="0"/>
            </c:dLbl>
            <c:dLbl>
              <c:idx val="13"/>
              <c:tx>
                <c:rich>
                  <a:bodyPr/>
                  <a:lstStyle/>
                  <a:p>
                    <a:r>
                      <a:t>665.31</a:t>
                    </a:r>
                  </a:p>
                </c:rich>
              </c:tx>
              <c:showLegendKey val="0"/>
              <c:showVal val="1"/>
              <c:showCatName val="0"/>
              <c:showSerName val="0"/>
              <c:showPercent val="0"/>
              <c:showBubbleSize val="0"/>
            </c:dLbl>
            <c:dLbl>
              <c:idx val="14"/>
              <c:tx>
                <c:rich>
                  <a:bodyPr/>
                  <a:lstStyle/>
                  <a:p>
                    <a:r>
                      <a:t>46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2.7</c:v>
                </c:pt>
                <c:pt idx="1">
                  <c:v>301.59</c:v>
                </c:pt>
                <c:pt idx="2">
                  <c:v>296.61</c:v>
                </c:pt>
                <c:pt idx="3">
                  <c:v>305.15</c:v>
                </c:pt>
                <c:pt idx="4">
                  <c:v>326.36</c:v>
                </c:pt>
                <c:pt idx="5">
                  <c:v>276.8</c:v>
                </c:pt>
                <c:pt idx="6">
                  <c:v>316.96</c:v>
                </c:pt>
                <c:pt idx="7">
                  <c:v>301.2</c:v>
                </c:pt>
                <c:pt idx="8">
                  <c:v>322.3</c:v>
                </c:pt>
                <c:pt idx="9">
                  <c:v>186.88</c:v>
                </c:pt>
                <c:pt idx="10">
                  <c:v>635.69</c:v>
                </c:pt>
                <c:pt idx="11">
                  <c:v>636.86</c:v>
                </c:pt>
                <c:pt idx="12">
                  <c:v>646.75</c:v>
                </c:pt>
                <c:pt idx="13">
                  <c:v>665.31</c:v>
                </c:pt>
                <c:pt idx="14">
                  <c:v>46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3.99</a:t>
                    </a:r>
                  </a:p>
                </c:rich>
              </c:tx>
              <c:showLegendKey val="0"/>
              <c:showVal val="1"/>
              <c:showCatName val="0"/>
              <c:showSerName val="0"/>
              <c:showPercent val="0"/>
              <c:showBubbleSize val="0"/>
            </c:dLbl>
            <c:dLbl>
              <c:idx val="3"/>
              <c:tx>
                <c:rich>
                  <a:bodyPr/>
                  <a:lstStyle/>
                  <a:p>
                    <a:r>
                      <a:t>308.69</a:t>
                    </a:r>
                  </a:p>
                </c:rich>
              </c:tx>
              <c:showLegendKey val="0"/>
              <c:showVal val="1"/>
              <c:showCatName val="0"/>
              <c:showSerName val="0"/>
              <c:showPercent val="0"/>
              <c:showBubbleSize val="0"/>
            </c:dLbl>
            <c:dLbl>
              <c:idx val="4"/>
              <c:tx>
                <c:rich>
                  <a:bodyPr/>
                  <a:lstStyle/>
                  <a:p>
                    <a:r>
                      <a:t>338.04</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312.74</a:t>
                    </a:r>
                  </a:p>
                </c:rich>
              </c:tx>
              <c:showLegendKey val="0"/>
              <c:showVal val="1"/>
              <c:showCatName val="0"/>
              <c:showSerName val="0"/>
              <c:showPercent val="0"/>
              <c:showBubbleSize val="0"/>
            </c:dLbl>
            <c:dLbl>
              <c:idx val="8"/>
              <c:tx>
                <c:rich>
                  <a:bodyPr/>
                  <a:lstStyle/>
                  <a:p>
                    <a:r>
                      <a:t>318.97</a:t>
                    </a:r>
                  </a:p>
                </c:rich>
              </c:tx>
              <c:showLegendKey val="0"/>
              <c:showVal val="1"/>
              <c:showCatName val="0"/>
              <c:showSerName val="0"/>
              <c:showPercent val="0"/>
              <c:showBubbleSize val="0"/>
            </c:dLbl>
            <c:dLbl>
              <c:idx val="9"/>
              <c:tx>
                <c:rich>
                  <a:bodyPr/>
                  <a:lstStyle/>
                  <a:p>
                    <a:r>
                      <a:t>186.08</a:t>
                    </a:r>
                  </a:p>
                </c:rich>
              </c:tx>
              <c:showLegendKey val="0"/>
              <c:showVal val="1"/>
              <c:showCatName val="0"/>
              <c:showSerName val="0"/>
              <c:showPercent val="0"/>
              <c:showBubbleSize val="0"/>
            </c:dLbl>
            <c:dLbl>
              <c:idx val="10"/>
              <c:tx>
                <c:rich>
                  <a:bodyPr/>
                  <a:lstStyle/>
                  <a:p>
                    <a:r>
                      <a:t>635.1</a:t>
                    </a:r>
                  </a:p>
                </c:rich>
              </c:tx>
              <c:showLegendKey val="0"/>
              <c:showVal val="1"/>
              <c:showCatName val="0"/>
              <c:showSerName val="0"/>
              <c:showPercent val="0"/>
              <c:showBubbleSize val="0"/>
            </c:dLbl>
            <c:dLbl>
              <c:idx val="11"/>
              <c:tx>
                <c:rich>
                  <a:bodyPr/>
                  <a:lstStyle/>
                  <a:p>
                    <a:r>
                      <a:t>641.3</a:t>
                    </a:r>
                  </a:p>
                </c:rich>
              </c:tx>
              <c:showLegendKey val="0"/>
              <c:showVal val="1"/>
              <c:showCatName val="0"/>
              <c:showSerName val="0"/>
              <c:showPercent val="0"/>
              <c:showBubbleSize val="0"/>
            </c:dLbl>
            <c:dLbl>
              <c:idx val="12"/>
              <c:tx>
                <c:rich>
                  <a:bodyPr/>
                  <a:lstStyle/>
                  <a:p>
                    <a:r>
                      <a:t>647.88</a:t>
                    </a:r>
                  </a:p>
                </c:rich>
              </c:tx>
              <c:showLegendKey val="0"/>
              <c:showVal val="1"/>
              <c:showCatName val="0"/>
              <c:showSerName val="0"/>
              <c:showPercent val="0"/>
              <c:showBubbleSize val="0"/>
            </c:dLbl>
            <c:dLbl>
              <c:idx val="13"/>
              <c:tx>
                <c:rich>
                  <a:bodyPr/>
                  <a:lstStyle/>
                  <a:p>
                    <a:r>
                      <a:t>648.88</a:t>
                    </a:r>
                  </a:p>
                </c:rich>
              </c:tx>
              <c:showLegendKey val="0"/>
              <c:showVal val="1"/>
              <c:showCatName val="0"/>
              <c:showSerName val="0"/>
              <c:showPercent val="0"/>
              <c:showBubbleSize val="0"/>
            </c:dLbl>
            <c:dLbl>
              <c:idx val="14"/>
              <c:tx>
                <c:rich>
                  <a:bodyPr/>
                  <a:lstStyle/>
                  <a:p>
                    <a:r>
                      <a:t>465.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5.74</c:v>
                </c:pt>
                <c:pt idx="1">
                  <c:v>306.84</c:v>
                </c:pt>
                <c:pt idx="2">
                  <c:v>303.99</c:v>
                </c:pt>
                <c:pt idx="3">
                  <c:v>308.69</c:v>
                </c:pt>
                <c:pt idx="4">
                  <c:v>338.04</c:v>
                </c:pt>
                <c:pt idx="5">
                  <c:v>281.56</c:v>
                </c:pt>
                <c:pt idx="6">
                  <c:v>316.47</c:v>
                </c:pt>
                <c:pt idx="7">
                  <c:v>312.74</c:v>
                </c:pt>
                <c:pt idx="8">
                  <c:v>318.97</c:v>
                </c:pt>
                <c:pt idx="9">
                  <c:v>186.08</c:v>
                </c:pt>
                <c:pt idx="10">
                  <c:v>635.1</c:v>
                </c:pt>
                <c:pt idx="11">
                  <c:v>641.3</c:v>
                </c:pt>
                <c:pt idx="12">
                  <c:v>647.88</c:v>
                </c:pt>
                <c:pt idx="13">
                  <c:v>648.88</c:v>
                </c:pt>
                <c:pt idx="14">
                  <c:v>465.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3</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8.86</a:t>
                    </a:r>
                  </a:p>
                </c:rich>
              </c:tx>
              <c:showLegendKey val="0"/>
              <c:showVal val="1"/>
              <c:showCatName val="0"/>
              <c:showSerName val="0"/>
              <c:showPercent val="0"/>
              <c:showBubbleSize val="0"/>
            </c:dLbl>
            <c:dLbl>
              <c:idx val="3"/>
              <c:tx>
                <c:rich>
                  <a:bodyPr/>
                  <a:lstStyle/>
                  <a:p>
                    <a:r>
                      <a:t>347.12</a:t>
                    </a:r>
                  </a:p>
                </c:rich>
              </c:tx>
              <c:showLegendKey val="0"/>
              <c:showVal val="1"/>
              <c:showCatName val="0"/>
              <c:showSerName val="0"/>
              <c:showPercent val="0"/>
              <c:showBubbleSize val="0"/>
            </c:dLbl>
            <c:dLbl>
              <c:idx val="4"/>
              <c:tx>
                <c:rich>
                  <a:bodyPr/>
                  <a:lstStyle/>
                  <a:p>
                    <a:r>
                      <a:t>330.0</a:t>
                    </a:r>
                  </a:p>
                </c:rich>
              </c:tx>
              <c:showLegendKey val="0"/>
              <c:showVal val="1"/>
              <c:showCatName val="0"/>
              <c:showSerName val="0"/>
              <c:showPercent val="0"/>
              <c:showBubbleSize val="0"/>
            </c:dLbl>
            <c:dLbl>
              <c:idx val="5"/>
              <c:tx>
                <c:rich>
                  <a:bodyPr/>
                  <a:lstStyle/>
                  <a:p>
                    <a:r>
                      <a:t>655.36</a:t>
                    </a:r>
                  </a:p>
                </c:rich>
              </c:tx>
              <c:showLegendKey val="0"/>
              <c:showVal val="1"/>
              <c:showCatName val="0"/>
              <c:showSerName val="0"/>
              <c:showPercent val="0"/>
              <c:showBubbleSize val="0"/>
            </c:dLbl>
            <c:dLbl>
              <c:idx val="6"/>
              <c:tx>
                <c:rich>
                  <a:bodyPr/>
                  <a:lstStyle/>
                  <a:p>
                    <a:r>
                      <a:t>716.41</a:t>
                    </a:r>
                  </a:p>
                </c:rich>
              </c:tx>
              <c:showLegendKey val="0"/>
              <c:showVal val="1"/>
              <c:showCatName val="0"/>
              <c:showSerName val="0"/>
              <c:showPercent val="0"/>
              <c:showBubbleSize val="0"/>
            </c:dLbl>
            <c:dLbl>
              <c:idx val="7"/>
              <c:tx>
                <c:rich>
                  <a:bodyPr/>
                  <a:lstStyle/>
                  <a:p>
                    <a:r>
                      <a:t>315.86</a:t>
                    </a:r>
                  </a:p>
                </c:rich>
              </c:tx>
              <c:showLegendKey val="0"/>
              <c:showVal val="1"/>
              <c:showCatName val="0"/>
              <c:showSerName val="0"/>
              <c:showPercent val="0"/>
              <c:showBubbleSize val="0"/>
            </c:dLbl>
            <c:dLbl>
              <c:idx val="8"/>
              <c:tx>
                <c:rich>
                  <a:bodyPr/>
                  <a:lstStyle/>
                  <a:p>
                    <a:r>
                      <a:t>350.73</a:t>
                    </a:r>
                  </a:p>
                </c:rich>
              </c:tx>
              <c:showLegendKey val="0"/>
              <c:showVal val="1"/>
              <c:showCatName val="0"/>
              <c:showSerName val="0"/>
              <c:showPercent val="0"/>
              <c:showBubbleSize val="0"/>
            </c:dLbl>
            <c:dLbl>
              <c:idx val="9"/>
              <c:tx>
                <c:rich>
                  <a:bodyPr/>
                  <a:lstStyle/>
                  <a:p>
                    <a:r>
                      <a:t>695.61</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42</a:t>
                    </a:r>
                  </a:p>
                </c:rich>
              </c:tx>
              <c:showLegendKey val="0"/>
              <c:showVal val="1"/>
              <c:showCatName val="0"/>
              <c:showSerName val="0"/>
              <c:showPercent val="0"/>
              <c:showBubbleSize val="0"/>
            </c:dLbl>
            <c:dLbl>
              <c:idx val="13"/>
              <c:tx>
                <c:rich>
                  <a:bodyPr/>
                  <a:lstStyle/>
                  <a:p>
                    <a:r>
                      <a:t>652.95</a:t>
                    </a:r>
                  </a:p>
                </c:rich>
              </c:tx>
              <c:showLegendKey val="0"/>
              <c:showVal val="1"/>
              <c:showCatName val="0"/>
              <c:showSerName val="0"/>
              <c:showPercent val="0"/>
              <c:showBubbleSize val="0"/>
            </c:dLbl>
            <c:dLbl>
              <c:idx val="14"/>
              <c:tx>
                <c:rich>
                  <a:bodyPr/>
                  <a:lstStyle/>
                  <a:p>
                    <a:r>
                      <a:t>467.39</a:t>
                    </a:r>
                  </a:p>
                </c:rich>
              </c:tx>
              <c:showLegendKey val="0"/>
              <c:showVal val="1"/>
              <c:showCatName val="0"/>
              <c:showSerName val="0"/>
              <c:showPercent val="0"/>
              <c:showBubbleSize val="0"/>
            </c:dLbl>
            <c:dLbl>
              <c:idx val="15"/>
              <c:tx>
                <c:rich>
                  <a:bodyPr/>
                  <a:lstStyle/>
                  <a:p>
                    <a:r>
                      <a:t>633.15</a:t>
                    </a:r>
                  </a:p>
                </c:rich>
              </c:tx>
              <c:showLegendKey val="0"/>
              <c:showVal val="1"/>
              <c:showCatName val="0"/>
              <c:showSerName val="0"/>
              <c:showPercent val="0"/>
              <c:showBubbleSize val="0"/>
            </c:dLbl>
            <c:dLbl>
              <c:idx val="16"/>
              <c:tx>
                <c:rich>
                  <a:bodyPr/>
                  <a:lstStyle/>
                  <a:p>
                    <a:r>
                      <a:t>596.69</a:t>
                    </a:r>
                  </a:p>
                </c:rich>
              </c:tx>
              <c:showLegendKey val="0"/>
              <c:showVal val="1"/>
              <c:showCatName val="0"/>
              <c:showSerName val="0"/>
              <c:showPercent val="0"/>
              <c:showBubbleSize val="0"/>
            </c:dLbl>
            <c:dLbl>
              <c:idx val="17"/>
              <c:tx>
                <c:rich>
                  <a:bodyPr/>
                  <a:lstStyle/>
                  <a:p>
                    <a:r>
                      <a:t>601.16</a:t>
                    </a:r>
                  </a:p>
                </c:rich>
              </c:tx>
              <c:showLegendKey val="0"/>
              <c:showVal val="1"/>
              <c:showCatName val="0"/>
              <c:showSerName val="0"/>
              <c:showPercent val="0"/>
              <c:showBubbleSize val="0"/>
            </c:dLbl>
            <c:dLbl>
              <c:idx val="18"/>
              <c:tx>
                <c:rich>
                  <a:bodyPr/>
                  <a:lstStyle/>
                  <a:p>
                    <a:r>
                      <a:t>843.38</a:t>
                    </a:r>
                  </a:p>
                </c:rich>
              </c:tx>
              <c:showLegendKey val="0"/>
              <c:showVal val="1"/>
              <c:showCatName val="0"/>
              <c:showSerName val="0"/>
              <c:showPercent val="0"/>
              <c:showBubbleSize val="0"/>
            </c:dLbl>
            <c:dLbl>
              <c:idx val="19"/>
              <c:tx>
                <c:rich>
                  <a:bodyPr/>
                  <a:lstStyle/>
                  <a:p>
                    <a:r>
                      <a:t>90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Spray Liquido 50 220Ml</c:v>
                </c:pt>
                <c:pt idx="4">
                  <c:v>Edgewell Hawaiian Tropic Island Sport Sunscreen Adults Sport Liquido 50 240Ml</c:v>
                </c:pt>
                <c:pt idx="5">
                  <c:v>Beiersdorf Eucerin Sunscreen Adults Derma Gel 50+ 50Ml</c:v>
                </c:pt>
                <c:pt idx="6">
                  <c:v>Beiersdorf Eucerin Sunscreen Adults Derma Crema 50+ 50Ml</c:v>
                </c:pt>
                <c:pt idx="7">
                  <c:v>Beiersdorf Nivea Sunscreen Adults Cosmetics Crema 50 50Ml</c:v>
                </c:pt>
                <c:pt idx="8">
                  <c:v>Beiersdorf Nivea Sunscreen Adults Cosmetics Liquido 50 200Ml</c:v>
                </c:pt>
                <c:pt idx="9">
                  <c:v>Beiersdorf Eucerin Sunscreen Adults Derma Gel-Crema 50+ 50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pt idx="15">
                  <c:v>L'Oreal La Roche-Posay Sunscreen Adults Derma Fluido 50+ 50Ml</c:v>
                </c:pt>
                <c:pt idx="16">
                  <c:v>L'Oreal La Roche-Posay Sunscreen Adults Derma Gel 50+ 50Ml</c:v>
                </c:pt>
                <c:pt idx="17">
                  <c:v>L'Oreal La Roche-Posay Sunscreen Adults Derma Crema 50 50Ml</c:v>
                </c:pt>
                <c:pt idx="18">
                  <c:v>L'Oreal La Roche-Posay Sunscreen Adults Derma Crema 50+ 50Ml</c:v>
                </c:pt>
                <c:pt idx="19">
                  <c:v>L'Oreal Vichy Sunscreen Adults Derma Crema 50 300Ml</c:v>
                </c:pt>
              </c:strCache>
            </c:strRef>
          </c:cat>
          <c:val>
            <c:numRef>
              <c:f>Sheet1!$B$2:$B$21</c:f>
              <c:numCache>
                <c:formatCode>General</c:formatCode>
                <c:ptCount val="20"/>
                <c:pt idx="0">
                  <c:v>305.33</c:v>
                </c:pt>
                <c:pt idx="1">
                  <c:v>318.53</c:v>
                </c:pt>
                <c:pt idx="2">
                  <c:v>348.86</c:v>
                </c:pt>
                <c:pt idx="3">
                  <c:v>347.12</c:v>
                </c:pt>
                <c:pt idx="4">
                  <c:v>330.0</c:v>
                </c:pt>
                <c:pt idx="5">
                  <c:v>655.36</c:v>
                </c:pt>
                <c:pt idx="6">
                  <c:v>716.41</c:v>
                </c:pt>
                <c:pt idx="7">
                  <c:v>315.86</c:v>
                </c:pt>
                <c:pt idx="8">
                  <c:v>350.73</c:v>
                </c:pt>
                <c:pt idx="9">
                  <c:v>695.61</c:v>
                </c:pt>
                <c:pt idx="10">
                  <c:v>634.08</c:v>
                </c:pt>
                <c:pt idx="11">
                  <c:v>642.22</c:v>
                </c:pt>
                <c:pt idx="12">
                  <c:v>649.42</c:v>
                </c:pt>
                <c:pt idx="13">
                  <c:v>652.95</c:v>
                </c:pt>
                <c:pt idx="14">
                  <c:v>467.39</c:v>
                </c:pt>
                <c:pt idx="15">
                  <c:v>633.15</c:v>
                </c:pt>
                <c:pt idx="16">
                  <c:v>596.69</c:v>
                </c:pt>
                <c:pt idx="17">
                  <c:v>601.16</c:v>
                </c:pt>
                <c:pt idx="18">
                  <c:v>843.38</c:v>
                </c:pt>
                <c:pt idx="19">
                  <c:v>90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96.8</a:t>
                    </a:r>
                  </a:p>
                </c:rich>
              </c:tx>
              <c:showLegendKey val="0"/>
              <c:showVal val="1"/>
              <c:showCatName val="0"/>
              <c:showSerName val="0"/>
              <c:showPercent val="0"/>
              <c:showBubbleSize val="0"/>
            </c:dLbl>
            <c:dLbl>
              <c:idx val="3"/>
              <c:tx>
                <c:rich>
                  <a:bodyPr/>
                  <a:lstStyle/>
                  <a:p>
                    <a:r>
                      <a:t>234.59</a:t>
                    </a:r>
                  </a:p>
                </c:rich>
              </c:tx>
              <c:showLegendKey val="0"/>
              <c:showVal val="1"/>
              <c:showCatName val="0"/>
              <c:showSerName val="0"/>
              <c:showPercent val="0"/>
              <c:showBubbleSize val="0"/>
            </c:dLbl>
            <c:dLbl>
              <c:idx val="4"/>
              <c:tx>
                <c:rich>
                  <a:bodyPr/>
                  <a:lstStyle/>
                  <a:p>
                    <a:r>
                      <a:t>220.0</a:t>
                    </a:r>
                  </a:p>
                </c:rich>
              </c:tx>
              <c:showLegendKey val="0"/>
              <c:showVal val="1"/>
              <c:showCatName val="0"/>
              <c:showSerName val="0"/>
              <c:showPercent val="0"/>
              <c:showBubbleSize val="0"/>
            </c:dLbl>
            <c:dLbl>
              <c:idx val="5"/>
              <c:tx>
                <c:rich>
                  <a:bodyPr/>
                  <a:lstStyle/>
                  <a:p>
                    <a:r>
                      <a:t>188.63</a:t>
                    </a:r>
                  </a:p>
                </c:rich>
              </c:tx>
              <c:showLegendKey val="0"/>
              <c:showVal val="1"/>
              <c:showCatName val="0"/>
              <c:showSerName val="0"/>
              <c:showPercent val="0"/>
              <c:showBubbleSize val="0"/>
            </c:dLbl>
            <c:dLbl>
              <c:idx val="6"/>
              <c:tx>
                <c:rich>
                  <a:bodyPr/>
                  <a:lstStyle/>
                  <a:p>
                    <a:r>
                      <a:t>294.01</a:t>
                    </a:r>
                  </a:p>
                </c:rich>
              </c:tx>
              <c:showLegendKey val="0"/>
              <c:showVal val="1"/>
              <c:showCatName val="0"/>
              <c:showSerName val="0"/>
              <c:showPercent val="0"/>
              <c:showBubbleSize val="0"/>
            </c:dLbl>
            <c:dLbl>
              <c:idx val="7"/>
              <c:tx>
                <c:rich>
                  <a:bodyPr/>
                  <a:lstStyle/>
                  <a:p>
                    <a:r>
                      <a:t>232.54</a:t>
                    </a:r>
                  </a:p>
                </c:rich>
              </c:tx>
              <c:showLegendKey val="0"/>
              <c:showVal val="1"/>
              <c:showCatName val="0"/>
              <c:showSerName val="0"/>
              <c:showPercent val="0"/>
              <c:showBubbleSize val="0"/>
            </c:dLbl>
            <c:dLbl>
              <c:idx val="8"/>
              <c:tx>
                <c:rich>
                  <a:bodyPr/>
                  <a:lstStyle/>
                  <a:p>
                    <a:r>
                      <a:t>295.0</a:t>
                    </a:r>
                  </a:p>
                </c:rich>
              </c:tx>
              <c:showLegendKey val="0"/>
              <c:showVal val="1"/>
              <c:showCatName val="0"/>
              <c:showSerName val="0"/>
              <c:showPercent val="0"/>
              <c:showBubbleSize val="0"/>
            </c:dLbl>
            <c:dLbl>
              <c:idx val="9"/>
              <c:tx>
                <c:rich>
                  <a:bodyPr/>
                  <a:lstStyle/>
                  <a:p>
                    <a:r>
                      <a:t>362.53</a:t>
                    </a:r>
                  </a:p>
                </c:rich>
              </c:tx>
              <c:showLegendKey val="0"/>
              <c:showVal val="1"/>
              <c:showCatName val="0"/>
              <c:showSerName val="0"/>
              <c:showPercent val="0"/>
              <c:showBubbleSize val="0"/>
            </c:dLbl>
            <c:dLbl>
              <c:idx val="10"/>
              <c:tx>
                <c:rich>
                  <a:bodyPr/>
                  <a:lstStyle/>
                  <a:p>
                    <a:r>
                      <a:t>453.61</a:t>
                    </a:r>
                  </a:p>
                </c:rich>
              </c:tx>
              <c:showLegendKey val="0"/>
              <c:showVal val="1"/>
              <c:showCatName val="0"/>
              <c:showSerName val="0"/>
              <c:showPercent val="0"/>
              <c:showBubbleSize val="0"/>
            </c:dLbl>
            <c:dLbl>
              <c:idx val="11"/>
              <c:tx>
                <c:rich>
                  <a:bodyPr/>
                  <a:lstStyle/>
                  <a:p>
                    <a:r>
                      <a:t>450.0</a:t>
                    </a:r>
                  </a:p>
                </c:rich>
              </c:tx>
              <c:showLegendKey val="0"/>
              <c:showVal val="1"/>
              <c:showCatName val="0"/>
              <c:showSerName val="0"/>
              <c:showPercent val="0"/>
              <c:showBubbleSize val="0"/>
            </c:dLbl>
            <c:dLbl>
              <c:idx val="12"/>
              <c:tx>
                <c:rich>
                  <a:bodyPr/>
                  <a:lstStyle/>
                  <a:p>
                    <a:r>
                      <a:t>156.91</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8</a:t>
                    </a:r>
                  </a:p>
                </c:rich>
              </c:tx>
              <c:showLegendKey val="0"/>
              <c:showVal val="1"/>
              <c:showCatName val="0"/>
              <c:showSerName val="0"/>
              <c:showPercent val="0"/>
              <c:showBubbleSize val="0"/>
            </c:dLbl>
            <c:dLbl>
              <c:idx val="15"/>
              <c:tx>
                <c:rich>
                  <a:bodyPr/>
                  <a:lstStyle/>
                  <a:p>
                    <a:r>
                      <a:t>155.07</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Beiersdorf Nivea Sunscreen Adults Cosmetics Liquido 50+ 125Ml</c:v>
                </c:pt>
                <c:pt idx="6">
                  <c:v>Beiersdorf Nivea Sunscreen Adults Cosmetics Crema 50+ 200Ml</c:v>
                </c:pt>
                <c:pt idx="7">
                  <c:v>Beiersdorf Nivea Sunscreen Adults Cosmetics Crema 50 50Ml</c:v>
                </c:pt>
                <c:pt idx="8">
                  <c:v>Beiersdorf Nivea Sunscreen Kids Cosmetics Liquido 50+ 200Ml</c:v>
                </c:pt>
                <c:pt idx="9">
                  <c:v>Beiersdorf Nivea Sunscreen Adults Cosmetics Spray Liquido 50 200Ml</c:v>
                </c:pt>
                <c:pt idx="10">
                  <c:v>Isdin Isdin Sunscreen Adults Derma Crema 50 50Ml</c:v>
                </c:pt>
                <c:pt idx="11">
                  <c:v>Isdin Isdin Sunscreen Adults Derma Crema 50+ 5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96.8</c:v>
                </c:pt>
                <c:pt idx="3">
                  <c:v>234.59</c:v>
                </c:pt>
                <c:pt idx="4">
                  <c:v>220.0</c:v>
                </c:pt>
                <c:pt idx="5">
                  <c:v>188.63</c:v>
                </c:pt>
                <c:pt idx="6">
                  <c:v>294.01</c:v>
                </c:pt>
                <c:pt idx="7">
                  <c:v>232.54</c:v>
                </c:pt>
                <c:pt idx="8">
                  <c:v>295.0</c:v>
                </c:pt>
                <c:pt idx="9">
                  <c:v>362.53</c:v>
                </c:pt>
                <c:pt idx="10">
                  <c:v>453.61</c:v>
                </c:pt>
                <c:pt idx="11">
                  <c:v>450.0</c:v>
                </c:pt>
                <c:pt idx="12">
                  <c:v>156.91</c:v>
                </c:pt>
                <c:pt idx="13">
                  <c:v>118.11</c:v>
                </c:pt>
                <c:pt idx="14">
                  <c:v>178.8</c:v>
                </c:pt>
                <c:pt idx="15">
                  <c:v>155.07</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2</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281.61</a:t>
                    </a:r>
                  </a:p>
                </c:rich>
              </c:tx>
              <c:showLegendKey val="0"/>
              <c:showVal val="1"/>
              <c:showCatName val="0"/>
              <c:showSerName val="0"/>
              <c:showPercent val="0"/>
              <c:showBubbleSize val="0"/>
            </c:dLbl>
            <c:dLbl>
              <c:idx val="4"/>
              <c:tx>
                <c:rich>
                  <a:bodyPr/>
                  <a:lstStyle/>
                  <a:p>
                    <a:r>
                      <a:t>326.5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6</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3</a:t>
                    </a:r>
                  </a:p>
                </c:rich>
              </c:tx>
              <c:showLegendKey val="0"/>
              <c:showVal val="1"/>
              <c:showCatName val="0"/>
              <c:showSerName val="0"/>
              <c:showPercent val="0"/>
              <c:showBubbleSize val="0"/>
            </c:dLbl>
            <c:dLbl>
              <c:idx val="10"/>
              <c:tx>
                <c:rich>
                  <a:bodyPr/>
                  <a:lstStyle/>
                  <a:p>
                    <a:r>
                      <a:t>227.46</a:t>
                    </a:r>
                  </a:p>
                </c:rich>
              </c:tx>
              <c:showLegendKey val="0"/>
              <c:showVal val="1"/>
              <c:showCatName val="0"/>
              <c:showSerName val="0"/>
              <c:showPercent val="0"/>
              <c:showBubbleSize val="0"/>
            </c:dLbl>
            <c:dLbl>
              <c:idx val="11"/>
              <c:tx>
                <c:rich>
                  <a:bodyPr/>
                  <a:lstStyle/>
                  <a:p>
                    <a:r>
                      <a:t>325.47</a:t>
                    </a:r>
                  </a:p>
                </c:rich>
              </c:tx>
              <c:showLegendKey val="0"/>
              <c:showVal val="1"/>
              <c:showCatName val="0"/>
              <c:showSerName val="0"/>
              <c:showPercent val="0"/>
              <c:showBubbleSize val="0"/>
            </c:dLbl>
            <c:dLbl>
              <c:idx val="12"/>
              <c:tx>
                <c:rich>
                  <a:bodyPr/>
                  <a:lstStyle/>
                  <a:p>
                    <a:r>
                      <a:t>271.09</a:t>
                    </a:r>
                  </a:p>
                </c:rich>
              </c:tx>
              <c:showLegendKey val="0"/>
              <c:showVal val="1"/>
              <c:showCatName val="0"/>
              <c:showSerName val="0"/>
              <c:showPercent val="0"/>
              <c:showBubbleSize val="0"/>
            </c:dLbl>
            <c:dLbl>
              <c:idx val="13"/>
              <c:tx>
                <c:rich>
                  <a:bodyPr/>
                  <a:lstStyle/>
                  <a:p>
                    <a:r>
                      <a:t>618.85</a:t>
                    </a:r>
                  </a:p>
                </c:rich>
              </c:tx>
              <c:showLegendKey val="0"/>
              <c:showVal val="1"/>
              <c:showCatName val="0"/>
              <c:showSerName val="0"/>
              <c:showPercent val="0"/>
              <c:showBubbleSize val="0"/>
            </c:dLbl>
            <c:dLbl>
              <c:idx val="14"/>
              <c:tx>
                <c:rich>
                  <a:bodyPr/>
                  <a:lstStyle/>
                  <a:p>
                    <a:r>
                      <a:t>600.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Sunscreen Adults Derma Gel 50+ 50Ml</c:v>
                </c:pt>
              </c:strCache>
            </c:strRef>
          </c:cat>
          <c:val>
            <c:numRef>
              <c:f>Sheet1!$B$2:$B$16</c:f>
              <c:numCache>
                <c:formatCode>General</c:formatCode>
                <c:ptCount val="15"/>
                <c:pt idx="0">
                  <c:v>305.12</c:v>
                </c:pt>
                <c:pt idx="1">
                  <c:v>312.14</c:v>
                </c:pt>
                <c:pt idx="2">
                  <c:v>305.29</c:v>
                </c:pt>
                <c:pt idx="3">
                  <c:v>281.61</c:v>
                </c:pt>
                <c:pt idx="4">
                  <c:v>326.59</c:v>
                </c:pt>
                <c:pt idx="5">
                  <c:v>305.54</c:v>
                </c:pt>
                <c:pt idx="6">
                  <c:v>271.17</c:v>
                </c:pt>
                <c:pt idx="7">
                  <c:v>300.66</c:v>
                </c:pt>
                <c:pt idx="8">
                  <c:v>305.45</c:v>
                </c:pt>
                <c:pt idx="9">
                  <c:v>187.83</c:v>
                </c:pt>
                <c:pt idx="10">
                  <c:v>227.46</c:v>
                </c:pt>
                <c:pt idx="11">
                  <c:v>325.47</c:v>
                </c:pt>
                <c:pt idx="12">
                  <c:v>271.09</c:v>
                </c:pt>
                <c:pt idx="13">
                  <c:v>618.85</c:v>
                </c:pt>
                <c:pt idx="14">
                  <c:v>600.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155.71</a:t>
                    </a:r>
                  </a:p>
                </c:rich>
              </c:tx>
              <c:showLegendKey val="0"/>
              <c:showVal val="1"/>
              <c:showCatName val="0"/>
              <c:showSerName val="0"/>
              <c:showPercent val="0"/>
              <c:showBubbleSize val="0"/>
            </c:dLbl>
            <c:dLbl>
              <c:idx val="2"/>
              <c:tx>
                <c:rich>
                  <a:bodyPr/>
                  <a:lstStyle/>
                  <a:p>
                    <a:r>
                      <a:t>234.37</a:t>
                    </a:r>
                  </a:p>
                </c:rich>
              </c:tx>
              <c:showLegendKey val="0"/>
              <c:showVal val="1"/>
              <c:showCatName val="0"/>
              <c:showSerName val="0"/>
              <c:showPercent val="0"/>
              <c:showBubbleSize val="0"/>
            </c:dLbl>
            <c:dLbl>
              <c:idx val="3"/>
              <c:tx>
                <c:rich>
                  <a:bodyPr/>
                  <a:lstStyle/>
                  <a:p>
                    <a:r>
                      <a:t>371.44</a:t>
                    </a:r>
                  </a:p>
                </c:rich>
              </c:tx>
              <c:showLegendKey val="0"/>
              <c:showVal val="1"/>
              <c:showCatName val="0"/>
              <c:showSerName val="0"/>
              <c:showPercent val="0"/>
              <c:showBubbleSize val="0"/>
            </c:dLbl>
            <c:dLbl>
              <c:idx val="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Tanning Sunscreen Adults Cosmetics Aceite 15 - 19 240Ml</c:v>
                </c:pt>
                <c:pt idx="1">
                  <c:v>Others Fabricante Unif. Others Marca Unif. Sunscreen Adults Cosmetics Aceite 30 - 49 75Ml</c:v>
                </c:pt>
                <c:pt idx="2">
                  <c:v>Others Fabricante Unif. Others Marca Unif. Sunscreen Adults Cosmetics Aceite 30 - 49 150Ml</c:v>
                </c:pt>
                <c:pt idx="3">
                  <c:v>Others Fabricante Unif. Others Marca Unif. Sunscreen Adults Cosmetics Spray Aceite 30 200Ml</c:v>
                </c:pt>
                <c:pt idx="4">
                  <c:v>Others Fabricante Unif. Others Marca Unif. Sunscreen Kids Cosmetics Spray Aceite 50+ 177Ml</c:v>
                </c:pt>
              </c:strCache>
            </c:strRef>
          </c:cat>
          <c:val>
            <c:numRef>
              <c:f>Sheet1!$B$2:$B$6</c:f>
              <c:numCache>
                <c:formatCode>General</c:formatCode>
                <c:ptCount val="5"/>
                <c:pt idx="0">
                  <c:v>399.0</c:v>
                </c:pt>
                <c:pt idx="1">
                  <c:v>155.71</c:v>
                </c:pt>
                <c:pt idx="2">
                  <c:v>234.37</c:v>
                </c:pt>
                <c:pt idx="3">
                  <c:v>371.44</c:v>
                </c:pt>
                <c:pt idx="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dLblPos val="t"/>
              <c:showLegendKey val="0"/>
              <c:showVal val="1"/>
              <c:showCatName val="0"/>
              <c:showSerName val="0"/>
              <c:showPercent val="0"/>
              <c:showBubbleSize val="0"/>
            </c:dLbl>
            <c:dLbl>
              <c:idx val="1"/>
              <c:tx>
                <c:rich>
                  <a:bodyPr/>
                  <a:lstStyle/>
                  <a:p>
                    <a:r>
                      <a:t>234.59</a:t>
                    </a:r>
                  </a:p>
                </c:rich>
              </c:tx>
              <c:dLblPos val="t"/>
              <c:showLegendKey val="0"/>
              <c:showVal val="1"/>
              <c:showCatName val="0"/>
              <c:showSerName val="0"/>
              <c:showPercent val="0"/>
              <c:showBubbleSize val="0"/>
            </c:dLbl>
            <c:dLbl>
              <c:idx val="2"/>
              <c:tx>
                <c:rich>
                  <a:bodyPr/>
                  <a:lstStyle/>
                  <a:p>
                    <a:r>
                      <a:t>205.93</a:t>
                    </a:r>
                  </a:p>
                </c:rich>
              </c:tx>
              <c:dLblPos val="t"/>
              <c:showLegendKey val="0"/>
              <c:showVal val="1"/>
              <c:showCatName val="0"/>
              <c:showSerName val="0"/>
              <c:showPercent val="0"/>
              <c:showBubbleSize val="0"/>
            </c:dLbl>
            <c:dLbl>
              <c:idx val="3"/>
              <c:tx>
                <c:rich>
                  <a:bodyPr/>
                  <a:lstStyle/>
                  <a:p>
                    <a:r>
                      <a:t>12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strCache>
            </c:strRef>
          </c:cat>
          <c:val>
            <c:numRef>
              <c:f>Sheet1!$B$2:$B$5</c:f>
              <c:numCache>
                <c:formatCode>General</c:formatCode>
                <c:ptCount val="4"/>
                <c:pt idx="0">
                  <c:v>96.8</c:v>
                </c:pt>
                <c:pt idx="1">
                  <c:v>234.59</c:v>
                </c:pt>
                <c:pt idx="2">
                  <c:v>205.93</c:v>
                </c:pt>
                <c:pt idx="3">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283.77</a:t>
                    </a:r>
                  </a:p>
                </c:rich>
              </c:tx>
              <c:showLegendKey val="0"/>
              <c:showVal val="1"/>
              <c:showCatName val="0"/>
              <c:showSerName val="0"/>
              <c:showPercent val="0"/>
              <c:showBubbleSize val="0"/>
            </c:dLbl>
            <c:dLbl>
              <c:idx val="2"/>
              <c:tx>
                <c:rich>
                  <a:bodyPr/>
                  <a:lstStyle/>
                  <a:p>
                    <a:r>
                      <a:t>188.44</a:t>
                    </a:r>
                  </a:p>
                </c:rich>
              </c:tx>
              <c:showLegendKey val="0"/>
              <c:showVal val="1"/>
              <c:showCatName val="0"/>
              <c:showSerName val="0"/>
              <c:showPercent val="0"/>
              <c:showBubbleSize val="0"/>
            </c:dLbl>
            <c:dLbl>
              <c:idx val="3"/>
              <c:tx>
                <c:rich>
                  <a:bodyPr/>
                  <a:lstStyle/>
                  <a:p>
                    <a:r>
                      <a:t>295.27</a:t>
                    </a:r>
                  </a:p>
                </c:rich>
              </c:tx>
              <c:showLegendKey val="0"/>
              <c:showVal val="1"/>
              <c:showCatName val="0"/>
              <c:showSerName val="0"/>
              <c:showPercent val="0"/>
              <c:showBubbleSize val="0"/>
            </c:dLbl>
            <c:dLbl>
              <c:idx val="4"/>
              <c:tx>
                <c:rich>
                  <a:bodyPr/>
                  <a:lstStyle/>
                  <a:p>
                    <a:r>
                      <a:t>254.4</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280.16</a:t>
                    </a:r>
                  </a:p>
                </c:rich>
              </c:tx>
              <c:showLegendKey val="0"/>
              <c:showVal val="1"/>
              <c:showCatName val="0"/>
              <c:showSerName val="0"/>
              <c:showPercent val="0"/>
              <c:showBubbleSize val="0"/>
            </c:dLbl>
            <c:dLbl>
              <c:idx val="8"/>
              <c:tx>
                <c:rich>
                  <a:bodyPr/>
                  <a:lstStyle/>
                  <a:p>
                    <a:r>
                      <a:t>259.23</a:t>
                    </a:r>
                  </a:p>
                </c:rich>
              </c:tx>
              <c:showLegendKey val="0"/>
              <c:showVal val="1"/>
              <c:showCatName val="0"/>
              <c:showSerName val="0"/>
              <c:showPercent val="0"/>
              <c:showBubbleSize val="0"/>
            </c:dLbl>
            <c:dLbl>
              <c:idx val="9"/>
              <c:tx>
                <c:rich>
                  <a:bodyPr/>
                  <a:lstStyle/>
                  <a:p>
                    <a:r>
                      <a:t>300.27</a:t>
                    </a:r>
                  </a:p>
                </c:rich>
              </c:tx>
              <c:showLegendKey val="0"/>
              <c:showVal val="1"/>
              <c:showCatName val="0"/>
              <c:showSerName val="0"/>
              <c:showPercent val="0"/>
              <c:showBubbleSize val="0"/>
            </c:dLbl>
            <c:dLbl>
              <c:idx val="10"/>
              <c:tx>
                <c:rich>
                  <a:bodyPr/>
                  <a:lstStyle/>
                  <a:p>
                    <a:r>
                      <a:t>153.48</a:t>
                    </a:r>
                  </a:p>
                </c:rich>
              </c:tx>
              <c:showLegendKey val="0"/>
              <c:showVal val="1"/>
              <c:showCatName val="0"/>
              <c:showSerName val="0"/>
              <c:showPercent val="0"/>
              <c:showBubbleSize val="0"/>
            </c:dLbl>
            <c:dLbl>
              <c:idx val="11"/>
              <c:tx>
                <c:rich>
                  <a:bodyPr/>
                  <a:lstStyle/>
                  <a:p>
                    <a:r>
                      <a:t>84.57</a:t>
                    </a:r>
                  </a:p>
                </c:rich>
              </c:tx>
              <c:showLegendKey val="0"/>
              <c:showVal val="1"/>
              <c:showCatName val="0"/>
              <c:showSerName val="0"/>
              <c:showPercent val="0"/>
              <c:showBubbleSize val="0"/>
            </c:dLbl>
            <c:dLbl>
              <c:idx val="12"/>
              <c:tx>
                <c:rich>
                  <a:bodyPr/>
                  <a:lstStyle/>
                  <a:p>
                    <a:r>
                      <a:t>158.15</a:t>
                    </a:r>
                  </a:p>
                </c:rich>
              </c:tx>
              <c:showLegendKey val="0"/>
              <c:showVal val="1"/>
              <c:showCatName val="0"/>
              <c:showSerName val="0"/>
              <c:showPercent val="0"/>
              <c:showBubbleSize val="0"/>
            </c:dLbl>
            <c:dLbl>
              <c:idx val="13"/>
              <c:tx>
                <c:rich>
                  <a:bodyPr/>
                  <a:lstStyle/>
                  <a:p>
                    <a:r>
                      <a:t>196.9</a:t>
                    </a:r>
                  </a:p>
                </c:rich>
              </c:tx>
              <c:showLegendKey val="0"/>
              <c:showVal val="1"/>
              <c:showCatName val="0"/>
              <c:showSerName val="0"/>
              <c:showPercent val="0"/>
              <c:showBubbleSize val="0"/>
            </c:dLbl>
            <c:dLbl>
              <c:idx val="14"/>
              <c:tx>
                <c:rich>
                  <a:bodyPr/>
                  <a:lstStyle/>
                  <a:p>
                    <a:r>
                      <a:t>357.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Cosmetics Crema 50+ 236Ml</c:v>
                </c:pt>
                <c:pt idx="2">
                  <c:v>Edgewell Hawaiian Tropic Sheer Touch Sunscreen Adults Cosmetics Crema 50 120Ml</c:v>
                </c:pt>
                <c:pt idx="3">
                  <c:v>Edgewell Hawaiian Tropic Sheer Touch Sunscreen Adults Cosmetics Crema 30 - 49 240Ml</c:v>
                </c:pt>
                <c:pt idx="4">
                  <c:v>Edgewell Banana Boat Kids Sport Sunscreen Kids Cosmetics Crema 50 180Ml</c:v>
                </c:pt>
                <c:pt idx="5">
                  <c:v>Beiersdorf Nivea Sunscreen Adults Cosmetics Crema 50 50Ml</c:v>
                </c:pt>
                <c:pt idx="6">
                  <c:v>Beiersdorf Nivea Sunscreen Adults Cosmetics Crema 50+ 200Ml</c:v>
                </c:pt>
                <c:pt idx="7">
                  <c:v>Beiersdorf Nivea Sunscreen Adults Cosmetics Crema 50+ 40Ml</c:v>
                </c:pt>
                <c:pt idx="8">
                  <c:v>Beiersdorf Nivea Sunscreen Adults Cosmetics Crema 50+ 50Ml</c:v>
                </c:pt>
                <c:pt idx="9">
                  <c:v>Beiersdorf Nivea Sunscreen Adults Cosmetics Crema 30 - 49 200Ml</c:v>
                </c:pt>
                <c:pt idx="10">
                  <c:v>Others Fabricante Unif. Others Marca Unif. Sunscreen Adults Cosmetics Crema 50+ 125Ml</c:v>
                </c:pt>
                <c:pt idx="11">
                  <c:v>Others Fabricante Unif. Others Marca Unif. Sunscreen Adults Cosmetics Crema 50+ 90Ml</c:v>
                </c:pt>
                <c:pt idx="12">
                  <c:v>Others Fabricante Unif. Others Marca Unif. Sunscreen Adults Cosmetics Crema 50+ 200Ml</c:v>
                </c:pt>
                <c:pt idx="13">
                  <c:v>Others Fabricante Unif. Others Marca Unif. Sunscreen Kids Cosmetics Crema 50+ 125Ml</c:v>
                </c:pt>
                <c:pt idx="14">
                  <c:v>Others Fabricante Unif. Others Marca Unif. Sunscreen Adults Cosmetics Crema 50+ 50Ml</c:v>
                </c:pt>
              </c:strCache>
            </c:strRef>
          </c:cat>
          <c:val>
            <c:numRef>
              <c:f>Sheet1!$B$2:$B$16</c:f>
              <c:numCache>
                <c:formatCode>General</c:formatCode>
                <c:ptCount val="15"/>
                <c:pt idx="0">
                  <c:v>302.7</c:v>
                </c:pt>
                <c:pt idx="1">
                  <c:v>283.77</c:v>
                </c:pt>
                <c:pt idx="2">
                  <c:v>188.44</c:v>
                </c:pt>
                <c:pt idx="3">
                  <c:v>295.27</c:v>
                </c:pt>
                <c:pt idx="4">
                  <c:v>254.4</c:v>
                </c:pt>
                <c:pt idx="5">
                  <c:v>276.8</c:v>
                </c:pt>
                <c:pt idx="6">
                  <c:v>316.96</c:v>
                </c:pt>
                <c:pt idx="7">
                  <c:v>280.16</c:v>
                </c:pt>
                <c:pt idx="8">
                  <c:v>259.23</c:v>
                </c:pt>
                <c:pt idx="9">
                  <c:v>300.27</c:v>
                </c:pt>
                <c:pt idx="10">
                  <c:v>153.48</c:v>
                </c:pt>
                <c:pt idx="11">
                  <c:v>84.57</c:v>
                </c:pt>
                <c:pt idx="12">
                  <c:v>158.15</c:v>
                </c:pt>
                <c:pt idx="13">
                  <c:v>196.9</c:v>
                </c:pt>
                <c:pt idx="14">
                  <c:v>357.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Mineral Sunscreen Adults Cosmetics Emulsion 30 - 49 30Ml</c:v>
                </c:pt>
              </c:strCache>
            </c:strRef>
          </c:cat>
          <c:val>
            <c:numRef>
              <c:f>Sheet1!$B$2:$B$2</c:f>
              <c:numCache>
                <c:formatCode>General</c:formatCode>
                <c:ptCount val="1"/>
                <c:pt idx="0">
                  <c:v>3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3</a:t>
                    </a:r>
                  </a:p>
                </c:rich>
              </c:tx>
              <c:showLegendKey val="0"/>
              <c:showVal val="1"/>
              <c:showCatName val="0"/>
              <c:showSerName val="0"/>
              <c:showPercent val="0"/>
              <c:showBubbleSize val="0"/>
            </c:dLbl>
            <c:dLbl>
              <c:idx val="1"/>
              <c:tx>
                <c:rich>
                  <a:bodyPr/>
                  <a:lstStyle/>
                  <a:p>
                    <a:r>
                      <a:t>310.34</a:t>
                    </a:r>
                  </a:p>
                </c:rich>
              </c:tx>
              <c:showLegendKey val="0"/>
              <c:showVal val="1"/>
              <c:showCatName val="0"/>
              <c:showSerName val="0"/>
              <c:showPercent val="0"/>
              <c:showBubbleSize val="0"/>
            </c:dLbl>
            <c:dLbl>
              <c:idx val="2"/>
              <c:tx>
                <c:rich>
                  <a:bodyPr/>
                  <a:lstStyle/>
                  <a:p>
                    <a:r>
                      <a:t>292.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Fluido 50+ 50Ml</c:v>
                </c:pt>
                <c:pt idx="1">
                  <c:v>Beiersdorf Nivea Sunscreen Adults Cosmetics Fluido 50+ 40Ml</c:v>
                </c:pt>
                <c:pt idx="2">
                  <c:v>Others Fabricante Unif. Others Marca Unif. Sunscreen Adults Cosmetics Fluido 50+ 45Ml</c:v>
                </c:pt>
              </c:strCache>
            </c:strRef>
          </c:cat>
          <c:val>
            <c:numRef>
              <c:f>Sheet1!$B$2:$B$4</c:f>
              <c:numCache>
                <c:formatCode>General</c:formatCode>
                <c:ptCount val="3"/>
                <c:pt idx="0">
                  <c:v>292.73</c:v>
                </c:pt>
                <c:pt idx="1">
                  <c:v>310.34</c:v>
                </c:pt>
                <c:pt idx="2">
                  <c:v>29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showLegendKey val="0"/>
              <c:showVal val="1"/>
              <c:showCatName val="0"/>
              <c:showSerName val="0"/>
              <c:showPercent val="0"/>
              <c:showBubbleSize val="0"/>
            </c:dLbl>
            <c:dLbl>
              <c:idx val="1"/>
              <c:tx>
                <c:rich>
                  <a:bodyPr/>
                  <a:lstStyle/>
                  <a:p>
                    <a:r>
                      <a:t>307.23</a:t>
                    </a:r>
                  </a:p>
                </c:rich>
              </c:tx>
              <c:showLegendKey val="0"/>
              <c:showVal val="1"/>
              <c:showCatName val="0"/>
              <c:showSerName val="0"/>
              <c:showPercent val="0"/>
              <c:showBubbleSize val="0"/>
            </c:dLbl>
            <c:dLbl>
              <c:idx val="2"/>
              <c:tx>
                <c:rich>
                  <a:bodyPr/>
                  <a:lstStyle/>
                  <a:p>
                    <a:r>
                      <a:t>312.26</a:t>
                    </a:r>
                  </a:p>
                </c:rich>
              </c:tx>
              <c:showLegendKey val="0"/>
              <c:showVal val="1"/>
              <c:showCatName val="0"/>
              <c:showSerName val="0"/>
              <c:showPercent val="0"/>
              <c:showBubbleSize val="0"/>
            </c:dLbl>
            <c:dLbl>
              <c:idx val="3"/>
              <c:tx>
                <c:rich>
                  <a:bodyPr/>
                  <a:lstStyle/>
                  <a:p>
                    <a:r>
                      <a:t>311.89</a:t>
                    </a:r>
                  </a:p>
                </c:rich>
              </c:tx>
              <c:showLegendKey val="0"/>
              <c:showVal val="1"/>
              <c:showCatName val="0"/>
              <c:showSerName val="0"/>
              <c:showPercent val="0"/>
              <c:showBubbleSize val="0"/>
            </c:dLbl>
            <c:dLbl>
              <c:idx val="4"/>
              <c:tx>
                <c:rich>
                  <a:bodyPr/>
                  <a:lstStyle/>
                  <a:p>
                    <a:r>
                      <a:t>101.93</a:t>
                    </a:r>
                  </a:p>
                </c:rich>
              </c:tx>
              <c:showLegendKey val="0"/>
              <c:showVal val="1"/>
              <c:showCatName val="0"/>
              <c:showSerName val="0"/>
              <c:showPercent val="0"/>
              <c:showBubbleSize val="0"/>
            </c:dLbl>
            <c:dLbl>
              <c:idx val="5"/>
              <c:tx>
                <c:rich>
                  <a:bodyPr/>
                  <a:lstStyle/>
                  <a:p>
                    <a:r>
                      <a:t>301.2</a:t>
                    </a:r>
                  </a:p>
                </c:rich>
              </c:tx>
              <c:showLegendKey val="0"/>
              <c:showVal val="1"/>
              <c:showCatName val="0"/>
              <c:showSerName val="0"/>
              <c:showPercent val="0"/>
              <c:showBubbleSize val="0"/>
            </c:dLbl>
            <c:dLbl>
              <c:idx val="6"/>
              <c:tx>
                <c:rich>
                  <a:bodyPr/>
                  <a:lstStyle/>
                  <a:p>
                    <a:r>
                      <a:t>186.88</a:t>
                    </a:r>
                  </a:p>
                </c:rich>
              </c:tx>
              <c:showLegendKey val="0"/>
              <c:showVal val="1"/>
              <c:showCatName val="0"/>
              <c:showSerName val="0"/>
              <c:showPercent val="0"/>
              <c:showBubbleSize val="0"/>
            </c:dLbl>
            <c:dLbl>
              <c:idx val="7"/>
              <c:tx>
                <c:rich>
                  <a:bodyPr/>
                  <a:lstStyle/>
                  <a:p>
                    <a:r>
                      <a:t>336.8</a:t>
                    </a:r>
                  </a:p>
                </c:rich>
              </c:tx>
              <c:showLegendKey val="0"/>
              <c:showVal val="1"/>
              <c:showCatName val="0"/>
              <c:showSerName val="0"/>
              <c:showPercent val="0"/>
              <c:showBubbleSize val="0"/>
            </c:dLbl>
            <c:dLbl>
              <c:idx val="8"/>
              <c:tx>
                <c:rich>
                  <a:bodyPr/>
                  <a:lstStyle/>
                  <a:p>
                    <a:r>
                      <a:t>297.49</a:t>
                    </a:r>
                  </a:p>
                </c:rich>
              </c:tx>
              <c:showLegendKey val="0"/>
              <c:showVal val="1"/>
              <c:showCatName val="0"/>
              <c:showSerName val="0"/>
              <c:showPercent val="0"/>
              <c:showBubbleSize val="0"/>
            </c:dLbl>
            <c:dLbl>
              <c:idx val="9"/>
              <c:tx>
                <c:rich>
                  <a:bodyPr/>
                  <a:lstStyle/>
                  <a:p>
                    <a:r>
                      <a:t>176.01</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287.88</a:t>
                    </a:r>
                  </a:p>
                </c:rich>
              </c:tx>
              <c:showLegendKey val="0"/>
              <c:showVal val="1"/>
              <c:showCatName val="0"/>
              <c:showSerName val="0"/>
              <c:showPercent val="0"/>
              <c:showBubbleSize val="0"/>
            </c:dLbl>
            <c:dLbl>
              <c:idx val="12"/>
              <c:tx>
                <c:rich>
                  <a:bodyPr/>
                  <a:lstStyle/>
                  <a:p>
                    <a:r>
                      <a:t>739.0</a:t>
                    </a:r>
                  </a:p>
                </c:rich>
              </c:tx>
              <c:showLegendKey val="0"/>
              <c:showVal val="1"/>
              <c:showCatName val="0"/>
              <c:showSerName val="0"/>
              <c:showPercent val="0"/>
              <c:showBubbleSize val="0"/>
            </c:dLbl>
            <c:dLbl>
              <c:idx val="13"/>
              <c:tx>
                <c:rich>
                  <a:bodyPr/>
                  <a:lstStyle/>
                  <a:p>
                    <a:r>
                      <a:t>250.43</a:t>
                    </a:r>
                  </a:p>
                </c:rich>
              </c:tx>
              <c:showLegendKey val="0"/>
              <c:showVal val="1"/>
              <c:showCatName val="0"/>
              <c:showSerName val="0"/>
              <c:showPercent val="0"/>
              <c:showBubbleSize val="0"/>
            </c:dLbl>
            <c:dLbl>
              <c:idx val="14"/>
              <c:tx>
                <c:rich>
                  <a:bodyPr/>
                  <a:lstStyle/>
                  <a:p>
                    <a:r>
                      <a:t>16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dvanced Protection Sunscreen Adults Cosmetics Liquido 50+ 240Ml</c:v>
                </c:pt>
                <c:pt idx="2">
                  <c:v>Edgewell Banana Boat Aqua Protect Sunscreen Adults Cosmetics Spray Liquido 50+ 170Ml</c:v>
                </c:pt>
                <c:pt idx="3">
                  <c:v>Edgewell Hawaiian Tropic Ozono Sunscreen Adults Cosmetics Spray Liquido 50+ 180Ml</c:v>
                </c:pt>
                <c:pt idx="4">
                  <c:v>Edgewell Hawaiian Tropic Ozono Sunscreen Adults Cosmetics Liquido 50+ 9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Kids Cosmetics Liquido 50+ 125Ml</c:v>
                </c:pt>
                <c:pt idx="10">
                  <c:v>Others Fabricante Unif. Others Marca Unif. Sunscreen Adults Cosmetics Liquido 30 - 49 50Ml</c:v>
                </c:pt>
                <c:pt idx="11">
                  <c:v>Others Fabricante Unif. Others Marca Unif. Sunscreen Adults Cosmetics Spray Liquido 50 200Ml</c:v>
                </c:pt>
                <c:pt idx="12">
                  <c:v>Others Fabricante Unif. Others Marca Unif. Sunscreen Adults Cosmetics Spray Liquido 50+ 200Ml</c:v>
                </c:pt>
                <c:pt idx="13">
                  <c:v>Others Fabricante Unif. Others Marca Unif. Sunscreen Adults Cosmetics Liquido 30 50Ml</c:v>
                </c:pt>
                <c:pt idx="14">
                  <c:v>Others Fabricante Unif. Others Marca Unif. Sunscreen Kids Cosmetics Liquido 50 100Ml</c:v>
                </c:pt>
              </c:strCache>
            </c:strRef>
          </c:cat>
          <c:val>
            <c:numRef>
              <c:f>Sheet1!$B$2:$B$16</c:f>
              <c:numCache>
                <c:formatCode>General</c:formatCode>
                <c:ptCount val="15"/>
                <c:pt idx="0">
                  <c:v>301.59</c:v>
                </c:pt>
                <c:pt idx="1">
                  <c:v>307.23</c:v>
                </c:pt>
                <c:pt idx="2">
                  <c:v>312.26</c:v>
                </c:pt>
                <c:pt idx="3">
                  <c:v>311.89</c:v>
                </c:pt>
                <c:pt idx="4">
                  <c:v>101.93</c:v>
                </c:pt>
                <c:pt idx="5">
                  <c:v>301.2</c:v>
                </c:pt>
                <c:pt idx="6">
                  <c:v>186.88</c:v>
                </c:pt>
                <c:pt idx="7">
                  <c:v>336.8</c:v>
                </c:pt>
                <c:pt idx="8">
                  <c:v>297.49</c:v>
                </c:pt>
                <c:pt idx="9">
                  <c:v>176.01</c:v>
                </c:pt>
                <c:pt idx="10">
                  <c:v>1206.0</c:v>
                </c:pt>
                <c:pt idx="11">
                  <c:v>287.88</c:v>
                </c:pt>
                <c:pt idx="12">
                  <c:v>739.0</c:v>
                </c:pt>
                <c:pt idx="13">
                  <c:v>250.43</c:v>
                </c:pt>
                <c:pt idx="14">
                  <c:v>16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8.77</a:t>
                    </a:r>
                  </a:p>
                </c:rich>
              </c:tx>
              <c:showLegendKey val="0"/>
              <c:showVal val="1"/>
              <c:showCatName val="0"/>
              <c:showSerName val="0"/>
              <c:showPercent val="0"/>
              <c:showBubbleSize val="0"/>
            </c:dLbl>
            <c:dLbl>
              <c:idx val="1"/>
              <c:tx>
                <c:rich>
                  <a:bodyPr/>
                  <a:lstStyle/>
                  <a:p>
                    <a:r>
                      <a:t>342.71</a:t>
                    </a:r>
                  </a:p>
                </c:rich>
              </c:tx>
              <c:showLegendKey val="0"/>
              <c:showVal val="1"/>
              <c:showCatName val="0"/>
              <c:showSerName val="0"/>
              <c:showPercent val="0"/>
              <c:showBubbleSize val="0"/>
            </c:dLbl>
            <c:dLbl>
              <c:idx val="2"/>
              <c:tx>
                <c:rich>
                  <a:bodyPr/>
                  <a:lstStyle/>
                  <a:p>
                    <a:r>
                      <a:t>331.67</a:t>
                    </a:r>
                  </a:p>
                </c:rich>
              </c:tx>
              <c:showLegendKey val="0"/>
              <c:showVal val="1"/>
              <c:showCatName val="0"/>
              <c:showSerName val="0"/>
              <c:showPercent val="0"/>
              <c:showBubbleSize val="0"/>
            </c:dLbl>
            <c:dLbl>
              <c:idx val="3"/>
              <c:tx>
                <c:rich>
                  <a:bodyPr/>
                  <a:lstStyle/>
                  <a:p>
                    <a:r>
                      <a:t>324.11</a:t>
                    </a:r>
                  </a:p>
                </c:rich>
              </c:tx>
              <c:showLegendKey val="0"/>
              <c:showVal val="1"/>
              <c:showCatName val="0"/>
              <c:showSerName val="0"/>
              <c:showPercent val="0"/>
              <c:showBubbleSize val="0"/>
            </c:dLbl>
            <c:dLbl>
              <c:idx val="4"/>
              <c:tx>
                <c:rich>
                  <a:bodyPr/>
                  <a:lstStyle/>
                  <a:p>
                    <a:r>
                      <a:t>285.08</a:t>
                    </a:r>
                  </a:p>
                </c:rich>
              </c:tx>
              <c:showLegendKey val="0"/>
              <c:showVal val="1"/>
              <c:showCatName val="0"/>
              <c:showSerName val="0"/>
              <c:showPercent val="0"/>
              <c:showBubbleSize val="0"/>
            </c:dLbl>
            <c:dLbl>
              <c:idx val="5"/>
              <c:tx>
                <c:rich>
                  <a:bodyPr/>
                  <a:lstStyle/>
                  <a:p>
                    <a:r>
                      <a:t>411.64</a:t>
                    </a:r>
                  </a:p>
                </c:rich>
              </c:tx>
              <c:showLegendKey val="0"/>
              <c:showVal val="1"/>
              <c:showCatName val="0"/>
              <c:showSerName val="0"/>
              <c:showPercent val="0"/>
              <c:showBubbleSize val="0"/>
            </c:dLbl>
            <c:dLbl>
              <c:idx val="6"/>
              <c:tx>
                <c:rich>
                  <a:bodyPr/>
                  <a:lstStyle/>
                  <a:p>
                    <a:r>
                      <a:t>447.68</a:t>
                    </a:r>
                  </a:p>
                </c:rich>
              </c:tx>
              <c:showLegendKey val="0"/>
              <c:showVal val="1"/>
              <c:showCatName val="0"/>
              <c:showSerName val="0"/>
              <c:showPercent val="0"/>
              <c:showBubbleSize val="0"/>
            </c:dLbl>
            <c:dLbl>
              <c:idx val="7"/>
              <c:tx>
                <c:rich>
                  <a:bodyPr/>
                  <a:lstStyle/>
                  <a:p>
                    <a:r>
                      <a:t>49.31</a:t>
                    </a:r>
                  </a:p>
                </c:rich>
              </c:tx>
              <c:showLegendKey val="0"/>
              <c:showVal val="1"/>
              <c:showCatName val="0"/>
              <c:showSerName val="0"/>
              <c:showPercent val="0"/>
              <c:showBubbleSize val="0"/>
            </c:dLbl>
            <c:dLbl>
              <c:idx val="8"/>
              <c:tx>
                <c:rich>
                  <a:bodyPr/>
                  <a:lstStyle/>
                  <a:p>
                    <a:r>
                      <a:t>204.11</a:t>
                    </a:r>
                  </a:p>
                </c:rich>
              </c:tx>
              <c:showLegendKey val="0"/>
              <c:showVal val="1"/>
              <c:showCatName val="0"/>
              <c:showSerName val="0"/>
              <c:showPercent val="0"/>
              <c:showBubbleSize val="0"/>
            </c:dLbl>
            <c:dLbl>
              <c:idx val="9"/>
              <c:tx>
                <c:rich>
                  <a:bodyPr/>
                  <a:lstStyle/>
                  <a:p>
                    <a:r>
                      <a:t>367.0</a:t>
                    </a:r>
                  </a:p>
                </c:rich>
              </c:tx>
              <c:showLegendKey val="0"/>
              <c:showVal val="1"/>
              <c:showCatName val="0"/>
              <c:showSerName val="0"/>
              <c:showPercent val="0"/>
              <c:showBubbleSize val="0"/>
            </c:dLbl>
            <c:dLbl>
              <c:idx val="10"/>
              <c:tx>
                <c:rich>
                  <a:bodyPr/>
                  <a:lstStyle/>
                  <a:p>
                    <a:r>
                      <a:t>244.9</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Mineral Sunscreen Adults Cosmetics Locion 50 180Ml</c:v>
                </c:pt>
                <c:pt idx="4">
                  <c:v>Edgewell Banana Boat Mineral Sunscreen Adults Cosmetics Locion 50 60Ml</c:v>
                </c:pt>
                <c:pt idx="5">
                  <c:v>Labs. Expanscience Mustela Sunscreen Kids Cosmetics Locion 50+ 40Ml</c:v>
                </c:pt>
                <c:pt idx="6">
                  <c:v>Labs. Expanscience Mustela Sunscreen Baby Cosmetics Locion 50+ 100Ml</c:v>
                </c:pt>
                <c:pt idx="7">
                  <c:v>Others Fabricante Unif. Others Marca Unif. Sunscreen Adults Cosmetics Locion 50+ 35Ml</c:v>
                </c:pt>
                <c:pt idx="8">
                  <c:v>Others Fabricante Unif. Others Marca Unif. Sunscreen Adults Cosmetics Locion 50 100Ml</c:v>
                </c:pt>
                <c:pt idx="9">
                  <c:v>Others Fabricante Unif. Others Marca Unif. Sunscreen Kids Cosmetics Locion 50+ 177Ml</c:v>
                </c:pt>
                <c:pt idx="10">
                  <c:v>Others Fabricante Unif. Others Marca Unif. Sunscreen Baby Cosmetics Locion 50+ 100Ml</c:v>
                </c:pt>
                <c:pt idx="11">
                  <c:v>Others Fabricante Unif. Others Marca Unif. Sunscreen Kids Cosmetics Spray Locion 30 - 49 200Ml</c:v>
                </c:pt>
              </c:strCache>
            </c:strRef>
          </c:cat>
          <c:val>
            <c:numRef>
              <c:f>Sheet1!$B$2:$B$13</c:f>
              <c:numCache>
                <c:formatCode>General</c:formatCode>
                <c:ptCount val="12"/>
                <c:pt idx="0">
                  <c:v>258.77</c:v>
                </c:pt>
                <c:pt idx="1">
                  <c:v>342.71</c:v>
                </c:pt>
                <c:pt idx="2">
                  <c:v>331.67</c:v>
                </c:pt>
                <c:pt idx="3">
                  <c:v>324.11</c:v>
                </c:pt>
                <c:pt idx="4">
                  <c:v>285.08</c:v>
                </c:pt>
                <c:pt idx="5">
                  <c:v>411.64</c:v>
                </c:pt>
                <c:pt idx="6">
                  <c:v>447.68</c:v>
                </c:pt>
                <c:pt idx="7">
                  <c:v>49.31</c:v>
                </c:pt>
                <c:pt idx="8">
                  <c:v>204.11</c:v>
                </c:pt>
                <c:pt idx="9">
                  <c:v>367.0</c:v>
                </c:pt>
                <c:pt idx="10">
                  <c:v>244.9</c:v>
                </c:pt>
                <c:pt idx="11">
                  <c:v>354.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Kids Sport Sunscreen Kids Cosmetics Roll-On 60+ 75Ml</c:v>
                </c:pt>
              </c:strCache>
            </c:strRef>
          </c:cat>
          <c:val>
            <c:numRef>
              <c:f>Sheet1!$B$2:$B$2</c:f>
              <c:numCache>
                <c:formatCode>General</c:formatCode>
                <c:ptCount val="1"/>
                <c:pt idx="0">
                  <c:v>214.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37.72</a:t>
                    </a:r>
                  </a:p>
                </c:rich>
              </c:tx>
              <c:showLegendKey val="0"/>
              <c:showVal val="1"/>
              <c:showCatName val="0"/>
              <c:showSerName val="0"/>
              <c:showPercent val="0"/>
              <c:showBubbleSize val="0"/>
            </c:dLbl>
            <c:dLbl>
              <c:idx val="2"/>
              <c:tx>
                <c:rich>
                  <a:bodyPr/>
                  <a:lstStyle/>
                  <a:p>
                    <a:r>
                      <a:t>379.25</a:t>
                    </a:r>
                  </a:p>
                </c:rich>
              </c:tx>
              <c:showLegendKey val="0"/>
              <c:showVal val="1"/>
              <c:showCatName val="0"/>
              <c:showSerName val="0"/>
              <c:showPercent val="0"/>
              <c:showBubbleSize val="0"/>
            </c:dLbl>
            <c:dLbl>
              <c:idx val="3"/>
              <c:tx>
                <c:rich>
                  <a:bodyPr/>
                  <a:lstStyle/>
                  <a:p>
                    <a:r>
                      <a:t>200.0</a:t>
                    </a:r>
                  </a:p>
                </c:rich>
              </c:tx>
              <c:showLegendKey val="0"/>
              <c:showVal val="1"/>
              <c:showCatName val="0"/>
              <c:showSerName val="0"/>
              <c:showPercent val="0"/>
              <c:showBubbleSize val="0"/>
            </c:dLbl>
            <c:dLbl>
              <c:idx val="4"/>
              <c:tx>
                <c:rich>
                  <a:bodyPr/>
                  <a:lstStyle/>
                  <a:p>
                    <a:r>
                      <a:t>290.98</a:t>
                    </a:r>
                  </a:p>
                </c:rich>
              </c:tx>
              <c:showLegendKey val="0"/>
              <c:showVal val="1"/>
              <c:showCatName val="0"/>
              <c:showSerName val="0"/>
              <c:showPercent val="0"/>
              <c:showBubbleSize val="0"/>
            </c:dLbl>
            <c:dLbl>
              <c:idx val="5"/>
              <c:tx>
                <c:rich>
                  <a:bodyPr/>
                  <a:lstStyle/>
                  <a:p>
                    <a:r>
                      <a:t>350.38</a:t>
                    </a:r>
                  </a:p>
                </c:rich>
              </c:tx>
              <c:showLegendKey val="0"/>
              <c:showVal val="1"/>
              <c:showCatName val="0"/>
              <c:showSerName val="0"/>
              <c:showPercent val="0"/>
              <c:showBubbleSize val="0"/>
            </c:dLbl>
            <c:dLbl>
              <c:idx val="6"/>
              <c:tx>
                <c:rich>
                  <a:bodyPr/>
                  <a:lstStyle/>
                  <a:p>
                    <a:r>
                      <a:t>303.8</a:t>
                    </a:r>
                  </a:p>
                </c:rich>
              </c:tx>
              <c:showLegendKey val="0"/>
              <c:showVal val="1"/>
              <c:showCatName val="0"/>
              <c:showSerName val="0"/>
              <c:showPercent val="0"/>
              <c:showBubbleSize val="0"/>
            </c:dLbl>
            <c:dLbl>
              <c:idx val="7"/>
              <c:tx>
                <c:rich>
                  <a:bodyPr/>
                  <a:lstStyle/>
                  <a:p>
                    <a:r>
                      <a:t>398.0</a:t>
                    </a:r>
                  </a:p>
                </c:rich>
              </c:tx>
              <c:showLegendKey val="0"/>
              <c:showVal val="1"/>
              <c:showCatName val="0"/>
              <c:showSerName val="0"/>
              <c:showPercent val="0"/>
              <c:showBubbleSize val="0"/>
            </c:dLbl>
            <c:dLbl>
              <c:idx val="8"/>
              <c:tx>
                <c:rich>
                  <a:bodyPr/>
                  <a:lstStyle/>
                  <a:p>
                    <a:r>
                      <a:t>357.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80.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Cosmetics Spray 50+ 170Ml</c:v>
                </c:pt>
                <c:pt idx="2">
                  <c:v>Australian Gold Australian Gold Sunscreen Adults Cosmetics Spray 30 - 49 170Ml</c:v>
                </c:pt>
                <c:pt idx="3">
                  <c:v>Others Fabricante Unif. Others Marca Unif. Sunscreen Adults Cosmetics Spray 50+ 170Ml</c:v>
                </c:pt>
                <c:pt idx="4">
                  <c:v>Others Fabricante Unif. Others Marca Unif. Sunscreen Kids Cosmetics Spray 50 200Ml</c:v>
                </c:pt>
                <c:pt idx="5">
                  <c:v>Australian Gold Australian Gold Sunscreen Adults Cosmetics Spray 15 - 19 170Ml</c:v>
                </c:pt>
                <c:pt idx="6">
                  <c:v>Sun &amp; Skin Care Research Ocean Potion Sunscreen Adults Cosmetics Spray 30 - 49 156Ml</c:v>
                </c:pt>
                <c:pt idx="7">
                  <c:v>Sun &amp; Skin Care Research Ocean Potion Sunscreen Adults Cosmetics Spray 50+ 156Ml</c:v>
                </c:pt>
                <c:pt idx="8">
                  <c:v>Australian Gold Australian Gold Sunscreen Kids Cosmetics Spray 50 170Ml</c:v>
                </c:pt>
                <c:pt idx="9">
                  <c:v>Sun &amp; Skin Care Research Ocean Potion Sunscreen Adults Cosmetics Spray 50 156Ml</c:v>
                </c:pt>
                <c:pt idx="10">
                  <c:v>Others Fabricante Unif. Others Marca Unif. Sunscreen Adults Cosmetics Spray 50+ 200Ml</c:v>
                </c:pt>
                <c:pt idx="11">
                  <c:v>Sun &amp; Skin Care Research Ocean Potion Sunscreen Kids Cosmetics Spray 50 156Ml</c:v>
                </c:pt>
                <c:pt idx="12">
                  <c:v>Others Fabricante Unif. Others Marca Unif. Sunscreen Adults Cosmetics Spray 50+ 50Ml</c:v>
                </c:pt>
              </c:strCache>
            </c:strRef>
          </c:cat>
          <c:val>
            <c:numRef>
              <c:f>Sheet1!$B$2:$B$14</c:f>
              <c:numCache>
                <c:formatCode>General</c:formatCode>
                <c:ptCount val="13"/>
                <c:pt idx="0">
                  <c:v>310.0</c:v>
                </c:pt>
                <c:pt idx="1">
                  <c:v>237.72</c:v>
                </c:pt>
                <c:pt idx="2">
                  <c:v>379.25</c:v>
                </c:pt>
                <c:pt idx="3">
                  <c:v>200.0</c:v>
                </c:pt>
                <c:pt idx="4">
                  <c:v>290.98</c:v>
                </c:pt>
                <c:pt idx="5">
                  <c:v>350.38</c:v>
                </c:pt>
                <c:pt idx="6">
                  <c:v>303.8</c:v>
                </c:pt>
                <c:pt idx="7">
                  <c:v>398.0</c:v>
                </c:pt>
                <c:pt idx="8">
                  <c:v>357.0</c:v>
                </c:pt>
                <c:pt idx="9">
                  <c:v>310.0</c:v>
                </c:pt>
                <c:pt idx="10">
                  <c:v>80.0</c:v>
                </c:pt>
                <c:pt idx="11">
                  <c:v>310.0</c:v>
                </c:pt>
                <c:pt idx="12">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297.2</a:t>
                    </a:r>
                  </a:p>
                </c:rich>
              </c:tx>
              <c:showLegendKey val="0"/>
              <c:showVal val="1"/>
              <c:showCatName val="0"/>
              <c:showSerName val="0"/>
              <c:showPercent val="0"/>
              <c:showBubbleSize val="0"/>
            </c:dLbl>
            <c:dLbl>
              <c:idx val="2"/>
              <c:tx>
                <c:rich>
                  <a:bodyPr/>
                  <a:lstStyle/>
                  <a:p>
                    <a:r>
                      <a:t>86.89</a:t>
                    </a:r>
                  </a:p>
                </c:rich>
              </c:tx>
              <c:showLegendKey val="0"/>
              <c:showVal val="1"/>
              <c:showCatName val="0"/>
              <c:showSerName val="0"/>
              <c:showPercent val="0"/>
              <c:showBubbleSize val="0"/>
            </c:dLbl>
            <c:dLbl>
              <c:idx val="3"/>
              <c:tx>
                <c:rich>
                  <a:bodyPr/>
                  <a:lstStyle/>
                  <a:p>
                    <a:r>
                      <a:t>81.53</a:t>
                    </a:r>
                  </a:p>
                </c:rich>
              </c:tx>
              <c:showLegendKey val="0"/>
              <c:showVal val="1"/>
              <c:showCatName val="0"/>
              <c:showSerName val="0"/>
              <c:showPercent val="0"/>
              <c:showBubbleSize val="0"/>
            </c:dLbl>
            <c:dLbl>
              <c:idx val="4"/>
              <c:tx>
                <c:rich>
                  <a:bodyPr/>
                  <a:lstStyle/>
                  <a:p>
                    <a:r>
                      <a:t>369.83</a:t>
                    </a:r>
                  </a:p>
                </c:rich>
              </c:tx>
              <c:showLegendKey val="0"/>
              <c:showVal val="1"/>
              <c:showCatName val="0"/>
              <c:showSerName val="0"/>
              <c:showPercent val="0"/>
              <c:showBubbleSize val="0"/>
            </c:dLbl>
            <c:dLbl>
              <c:idx val="5"/>
              <c:tx>
                <c:rich>
                  <a:bodyPr/>
                  <a:lstStyle/>
                  <a:p>
                    <a:r>
                      <a:t>74.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Others Fabricante Unif. Others Marca Unif. Sunscreen Adults Sport Crema 50+ 200Ml</c:v>
                </c:pt>
                <c:pt idx="3">
                  <c:v>Others Fabricante Unif. Others Marca Unif. Sunscreen Adults Sport Crema 50+ 12Ml</c:v>
                </c:pt>
                <c:pt idx="4">
                  <c:v>Others Fabricante Unif. Others Marca Unif. Sunscreen Adults Sport Crema 50 177Ml</c:v>
                </c:pt>
                <c:pt idx="5">
                  <c:v>Others Fabricante Unif. Others Marca Unif. Sunscreen Adults Sport Crema 50+ 150Ml</c:v>
                </c:pt>
              </c:strCache>
            </c:strRef>
          </c:cat>
          <c:val>
            <c:numRef>
              <c:f>Sheet1!$B$2:$B$7</c:f>
              <c:numCache>
                <c:formatCode>General</c:formatCode>
                <c:ptCount val="6"/>
                <c:pt idx="0">
                  <c:v>296.61</c:v>
                </c:pt>
                <c:pt idx="1">
                  <c:v>297.2</c:v>
                </c:pt>
                <c:pt idx="2">
                  <c:v>86.89</c:v>
                </c:pt>
                <c:pt idx="3">
                  <c:v>81.53</c:v>
                </c:pt>
                <c:pt idx="4">
                  <c:v>369.83</c:v>
                </c:pt>
                <c:pt idx="5">
                  <c:v>7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5</a:t>
                    </a:r>
                  </a:p>
                </c:rich>
              </c:tx>
              <c:showLegendKey val="0"/>
              <c:showVal val="1"/>
              <c:showCatName val="0"/>
              <c:showSerName val="0"/>
              <c:showPercent val="0"/>
              <c:showBubbleSize val="0"/>
            </c:dLbl>
            <c:dLbl>
              <c:idx val="1"/>
              <c:tx>
                <c:rich>
                  <a:bodyPr/>
                  <a:lstStyle/>
                  <a:p>
                    <a:r>
                      <a:t>302.86</a:t>
                    </a:r>
                  </a:p>
                </c:rich>
              </c:tx>
              <c:showLegendKey val="0"/>
              <c:showVal val="1"/>
              <c:showCatName val="0"/>
              <c:showSerName val="0"/>
              <c:showPercent val="0"/>
              <c:showBubbleSize val="0"/>
            </c:dLbl>
            <c:dLbl>
              <c:idx val="2"/>
              <c:tx>
                <c:rich>
                  <a:bodyPr/>
                  <a:lstStyle/>
                  <a:p>
                    <a:r>
                      <a:t>325.25</a:t>
                    </a:r>
                  </a:p>
                </c:rich>
              </c:tx>
              <c:showLegendKey val="0"/>
              <c:showVal val="1"/>
              <c:showCatName val="0"/>
              <c:showSerName val="0"/>
              <c:showPercent val="0"/>
              <c:showBubbleSize val="0"/>
            </c:dLbl>
            <c:dLbl>
              <c:idx val="3"/>
              <c:tx>
                <c:rich>
                  <a:bodyPr/>
                  <a:lstStyle/>
                  <a:p>
                    <a:r>
                      <a:t>86.25</a:t>
                    </a:r>
                  </a:p>
                </c:rich>
              </c:tx>
              <c:showLegendKey val="0"/>
              <c:showVal val="1"/>
              <c:showCatName val="0"/>
              <c:showSerName val="0"/>
              <c:showPercent val="0"/>
              <c:showBubbleSize val="0"/>
            </c:dLbl>
            <c:dLbl>
              <c:idx val="4"/>
              <c:tx>
                <c:rich>
                  <a:bodyPr/>
                  <a:lstStyle/>
                  <a:p>
                    <a:r>
                      <a:t>294.69</a:t>
                    </a:r>
                  </a:p>
                </c:rich>
              </c:tx>
              <c:showLegendKey val="0"/>
              <c:showVal val="1"/>
              <c:showCatName val="0"/>
              <c:showSerName val="0"/>
              <c:showPercent val="0"/>
              <c:showBubbleSize val="0"/>
            </c:dLbl>
            <c:dLbl>
              <c:idx val="5"/>
              <c:tx>
                <c:rich>
                  <a:bodyPr/>
                  <a:lstStyle/>
                  <a:p>
                    <a:r>
                      <a:t>24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240Ml</c:v>
                </c:pt>
                <c:pt idx="1">
                  <c:v>Edgewell Banana Boat Dry Balance Sunscreen Adults Sport Spray Liquido 50 220Ml</c:v>
                </c:pt>
                <c:pt idx="2">
                  <c:v>Edgewell Hawaiian Tropic Island Sport Sunscreen Adults Sport Spray Liquido 50 220Ml</c:v>
                </c:pt>
                <c:pt idx="3">
                  <c:v>Edgewell Hawaiian Tropic Island Sport Sunscreen Adults Sport Liquido 50 60Ml</c:v>
                </c:pt>
                <c:pt idx="4">
                  <c:v>Edgewell Banana Boat Advanced Protection Sunscreen Adults Sport Spray Liquido 50+ 170Ml</c:v>
                </c:pt>
                <c:pt idx="5">
                  <c:v>Australian Gold Australian Gold Sunscreen Adults Sport Liquido 30 - 49 200Ml</c:v>
                </c:pt>
              </c:strCache>
            </c:strRef>
          </c:cat>
          <c:val>
            <c:numRef>
              <c:f>Sheet1!$B$2:$B$7</c:f>
              <c:numCache>
                <c:formatCode>General</c:formatCode>
                <c:ptCount val="6"/>
                <c:pt idx="0">
                  <c:v>305.15</c:v>
                </c:pt>
                <c:pt idx="1">
                  <c:v>302.86</c:v>
                </c:pt>
                <c:pt idx="2">
                  <c:v>325.25</c:v>
                </c:pt>
                <c:pt idx="3">
                  <c:v>86.25</c:v>
                </c:pt>
                <c:pt idx="4">
                  <c:v>294.69</c:v>
                </c:pt>
                <c:pt idx="5">
                  <c:v>24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48</a:t>
                    </a:r>
                  </a:p>
                </c:rich>
              </c:tx>
              <c:showLegendKey val="0"/>
              <c:showVal val="1"/>
              <c:showCatName val="0"/>
              <c:showSerName val="0"/>
              <c:showPercent val="0"/>
              <c:showBubbleSize val="0"/>
            </c:dLbl>
            <c:dLbl>
              <c:idx val="1"/>
              <c:tx>
                <c:rich>
                  <a:bodyPr/>
                  <a:lstStyle/>
                  <a:p>
                    <a:r>
                      <a:t>334.39</a:t>
                    </a:r>
                  </a:p>
                </c:rich>
              </c:tx>
              <c:showLegendKey val="0"/>
              <c:showVal val="1"/>
              <c:showCatName val="0"/>
              <c:showSerName val="0"/>
              <c:showPercent val="0"/>
              <c:showBubbleSize val="0"/>
            </c:dLbl>
            <c:dLbl>
              <c:idx val="2"/>
              <c:tx>
                <c:rich>
                  <a:bodyPr/>
                  <a:lstStyle/>
                  <a:p>
                    <a:r>
                      <a:t>82.19</a:t>
                    </a:r>
                  </a:p>
                </c:rich>
              </c:tx>
              <c:showLegendKey val="0"/>
              <c:showVal val="1"/>
              <c:showCatName val="0"/>
              <c:showSerName val="0"/>
              <c:showPercent val="0"/>
              <c:showBubbleSize val="0"/>
            </c:dLbl>
            <c:dLbl>
              <c:idx val="3"/>
              <c:tx>
                <c:rich>
                  <a:bodyPr/>
                  <a:lstStyle/>
                  <a:p>
                    <a:r>
                      <a:t>288.31</a:t>
                    </a:r>
                  </a:p>
                </c:rich>
              </c:tx>
              <c:showLegendKey val="0"/>
              <c:showVal val="1"/>
              <c:showCatName val="0"/>
              <c:showSerName val="0"/>
              <c:showPercent val="0"/>
              <c:showBubbleSize val="0"/>
            </c:dLbl>
            <c:dLbl>
              <c:idx val="4"/>
              <c:tx>
                <c:rich>
                  <a:bodyPr/>
                  <a:lstStyle/>
                  <a:p>
                    <a:r>
                      <a:t>378.69</a:t>
                    </a:r>
                  </a:p>
                </c:rich>
              </c:tx>
              <c:showLegendKey val="0"/>
              <c:showVal val="1"/>
              <c:showCatName val="0"/>
              <c:showSerName val="0"/>
              <c:showPercent val="0"/>
              <c:showBubbleSize val="0"/>
            </c:dLbl>
            <c:dLbl>
              <c:idx val="5"/>
              <c:tx>
                <c:rich>
                  <a:bodyPr/>
                  <a:lstStyle/>
                  <a:p>
                    <a:r>
                      <a:t>302.36</a:t>
                    </a:r>
                  </a:p>
                </c:rich>
              </c:tx>
              <c:showLegendKey val="0"/>
              <c:showVal val="1"/>
              <c:showCatName val="0"/>
              <c:showSerName val="0"/>
              <c:showPercent val="0"/>
              <c:showBubbleSize val="0"/>
            </c:dLbl>
            <c:dLbl>
              <c:idx val="6"/>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170Ml</c:v>
                </c:pt>
                <c:pt idx="1">
                  <c:v>Edgewell Banana Boat Mineral Sunscreen Adults Sport Locion 50 180Ml</c:v>
                </c:pt>
                <c:pt idx="2">
                  <c:v>Edgewell Banana Boat Dry Balance Sunscreen Adults Sport Locion 50+ 60Ml</c:v>
                </c:pt>
                <c:pt idx="3">
                  <c:v>Others Fabricante Unif. Others Marca Unif. Sunscreen Adults Sport Spray Locion 50 200Ml</c:v>
                </c:pt>
                <c:pt idx="4">
                  <c:v>Australian Gold Australian Gold Sunscreen Adults Sport Spray Locion 30 170Ml</c:v>
                </c:pt>
                <c:pt idx="5">
                  <c:v>Australian Gold Australian Gold Sunscreen Adults Sport Locion 30 237Ml</c:v>
                </c:pt>
                <c:pt idx="6">
                  <c:v>Others Fabricante Unif. Others Marca Unif. Sunscreen Adults Sport Spray Locion 50+ 100Ml</c:v>
                </c:pt>
              </c:strCache>
            </c:strRef>
          </c:cat>
          <c:val>
            <c:numRef>
              <c:f>Sheet1!$B$2:$B$8</c:f>
              <c:numCache>
                <c:formatCode>General</c:formatCode>
                <c:ptCount val="7"/>
                <c:pt idx="0">
                  <c:v>311.48</c:v>
                </c:pt>
                <c:pt idx="1">
                  <c:v>334.39</c:v>
                </c:pt>
                <c:pt idx="2">
                  <c:v>82.19</c:v>
                </c:pt>
                <c:pt idx="3">
                  <c:v>288.31</c:v>
                </c:pt>
                <c:pt idx="4">
                  <c:v>378.69</c:v>
                </c:pt>
                <c:pt idx="5">
                  <c:v>302.36</c:v>
                </c:pt>
                <c:pt idx="6">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2/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06128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597326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0701354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42229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841108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624557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81020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806479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634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9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268633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95360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7167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49417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41446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242846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7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89444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107113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278835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902964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23868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412859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7.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143689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3663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183056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45386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ayer Consumer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yer Consumer Care Coppertone Sunscreen Adults Sport Locion 50 20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648791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3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00315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14093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237027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400177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095234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129149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14645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4532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528253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729748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Locion 50 201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077708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565520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9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81444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176154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7423918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950670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092324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478228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47008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315188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559552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08495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716043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376570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711050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17466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161783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849420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364049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6648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077477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2267372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534376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177609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788361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506197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327156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595456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640458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117511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6739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962193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040832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979177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988790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6138801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342401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239772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774636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498752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7.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264944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7.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7856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ded Pa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nded Pack Banded Pack 2X Sunscreen Multi 30 |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829651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Cosmetics Emuls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Emulsion 30 - 49 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195686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2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933791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872531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528612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94126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30 - 49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3116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8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2784855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5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746442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Sport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550132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77344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91505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598439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oppert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yer Consumer Care Coppertone Sunscreen Adults Sport Locion 50 20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8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386106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446802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45989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159404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204183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696875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657031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912149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4328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219623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anal Moderno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55550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30 - 49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40388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9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879364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316852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Sport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022586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583224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961200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oppert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yer Consumer Care Coppertone Sunscreen Adults Sport Locion 50 20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652681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7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044258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6713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68606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288189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698140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6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946766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6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040399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213897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347929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98284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onvenience + Farmacias Cad + Hard Discounters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142438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7.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053216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235201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1844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606659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865374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oppert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yer Consumer Care Coppertone Sunscreen Adults Sport Locion 50 20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627969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3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334508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8494756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6762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553361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044171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208356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596018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8210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0687423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881109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024807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604822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211844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Liquido 5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9705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Locion 50 201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Locion 50+ 201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Locion 30 - 49 201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30 - 49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336270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910694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9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569220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Sport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2365773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3411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967649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935268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3011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291878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384563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254565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920042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654172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243746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467608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06524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535015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918387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6203200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024162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334366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988703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5213005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869140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Emuls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571651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84093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3903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699601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636685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752402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60406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153545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571809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388029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162720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669774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Emuls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055130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2223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055720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136239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8200217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994431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981861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022631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732091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077365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0970914"/>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3569674"/>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16436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6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8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5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434986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084668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5774195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ort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410450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269309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090505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545825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726963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671985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4751323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5594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847553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70818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453414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9734994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477195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374820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673850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027954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055130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3390907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1130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5700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679324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3733954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2017667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178133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299391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827220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3693541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947458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938383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ort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9271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136508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6954243"/>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7915105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70259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652920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1072004"/>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607672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900676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8745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802911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622343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19541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100641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5598990"/>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227015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106395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075005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2639950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525762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1478629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406613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19343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ort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46542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384555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ort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3879449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ort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5288719"/>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ort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875992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ort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5169104"/>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717790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731882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849241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208398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736229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3340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750763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637557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449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2585425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Derma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4049288"/>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10001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port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770650"/>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port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788017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port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7943387"/>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port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625025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6035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487753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9339224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040337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8522972"/>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52712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297497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325302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451747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54579955"/>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17557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85409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132350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3204220"/>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0711178"/>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6083075"/>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426593"/>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5966297"/>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940690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816898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8647867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227370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628523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567100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14661205"/>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479949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5393518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665065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568005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796977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6136195"/>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376482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5916012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261522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7.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146841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0262802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434490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76187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6205160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95233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55623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485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10840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9548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92436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21613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1305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19877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5766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2156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03539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2413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0650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18992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29887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28757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3367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07218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34025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18999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6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8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5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11582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50241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55248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0689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68300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21345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12006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85885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97838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55528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90500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14956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00145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65205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1286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70634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273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7.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67657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04624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21073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48724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20056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43705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41217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Sport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77834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0814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674431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45171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9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378629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38863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0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48222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74293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67070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9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9.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96110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2616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0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09743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Aceite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0377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42260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7.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350679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Emuls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Emulsion 30 - 49 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32956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Fluido 50+ 4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2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16572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906756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Kids Cosmetics Locion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110975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8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187244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5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09742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451542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51276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8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4234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37154</Words>
  <Application>Microsoft Office PowerPoint</Application>
  <PresentationFormat>On-screen Show (16:9)</PresentationFormat>
  <Paragraphs>16200</Paragraphs>
  <Slides>37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74</vt:i4>
      </vt:variant>
    </vt:vector>
  </HeadingPairs>
  <TitlesOfParts>
    <vt:vector size="383"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2T15:0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